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1.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5" r:id="rId1"/>
  </p:sldMasterIdLst>
  <p:notesMasterIdLst>
    <p:notesMasterId r:id="rId10"/>
  </p:notesMasterIdLst>
  <p:handoutMasterIdLst>
    <p:handoutMasterId r:id="rId11"/>
  </p:handoutMasterIdLst>
  <p:sldIdLst>
    <p:sldId id="384" r:id="rId2"/>
    <p:sldId id="403" r:id="rId3"/>
    <p:sldId id="404" r:id="rId4"/>
    <p:sldId id="405" r:id="rId5"/>
    <p:sldId id="406" r:id="rId6"/>
    <p:sldId id="407" r:id="rId7"/>
    <p:sldId id="408" r:id="rId8"/>
    <p:sldId id="410" r:id="rId9"/>
  </p:sldIdLst>
  <p:sldSz cx="12192000" cy="6858000"/>
  <p:notesSz cx="6858000" cy="9144000"/>
  <p:custDataLst>
    <p:tags r:id="rId1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icrosoft Office User" initials="MOU" lastIdx="4" clrIdx="0"/>
  <p:cmAuthor id="2" name="Jeremy N Gooden" initials="JNG" lastIdx="1" clrIdx="1"/>
  <p:cmAuthor id="3" name="Rickey Haley-Colpitts" initials="RH" lastIdx="1" clrIdx="2">
    <p:extLst>
      <p:ext uri="{19B8F6BF-5375-455C-9EA6-DF929625EA0E}">
        <p15:presenceInfo xmlns:p15="http://schemas.microsoft.com/office/powerpoint/2012/main" userId="S::Rickey.Haley-Colpitts@bgis.com::d450c491-4712-4c27-9f1d-d9034ee29bdf" providerId="AD"/>
      </p:ext>
    </p:extLst>
  </p:cmAuthor>
  <p:cmAuthor id="4" name="Carine Pare" initials="CP" lastIdx="4" clrIdx="3">
    <p:extLst>
      <p:ext uri="{19B8F6BF-5375-455C-9EA6-DF929625EA0E}">
        <p15:presenceInfo xmlns:p15="http://schemas.microsoft.com/office/powerpoint/2012/main" userId="S::Carine.Pare@tpsgc-pwgsc.gc.ca::71f88b2f-db4c-4269-9577-1025f7fc654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B8B8B"/>
    <a:srgbClr val="888888"/>
    <a:srgbClr val="898989"/>
    <a:srgbClr val="A8CF76"/>
    <a:srgbClr val="6D6E71"/>
    <a:srgbClr val="DCDDD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8272" autoAdjust="0"/>
    <p:restoredTop sz="95255" autoAdjust="0"/>
  </p:normalViewPr>
  <p:slideViewPr>
    <p:cSldViewPr snapToGrid="0" snapToObjects="1">
      <p:cViewPr varScale="1">
        <p:scale>
          <a:sx n="107" d="100"/>
          <a:sy n="107" d="100"/>
        </p:scale>
        <p:origin x="1140" y="114"/>
      </p:cViewPr>
      <p:guideLst/>
    </p:cSldViewPr>
  </p:slideViewPr>
  <p:notesTextViewPr>
    <p:cViewPr>
      <p:scale>
        <a:sx n="1" d="1"/>
        <a:sy n="1" d="1"/>
      </p:scale>
      <p:origin x="0" y="0"/>
    </p:cViewPr>
  </p:notesTextViewPr>
  <p:sorterViewPr>
    <p:cViewPr>
      <p:scale>
        <a:sx n="110" d="100"/>
        <a:sy n="110" d="100"/>
      </p:scale>
      <p:origin x="0" y="0"/>
    </p:cViewPr>
  </p:sorterViewPr>
  <p:notesViewPr>
    <p:cSldViewPr snapToGrid="0" snapToObjects="1">
      <p:cViewPr varScale="1">
        <p:scale>
          <a:sx n="42" d="100"/>
          <a:sy n="42" d="100"/>
        </p:scale>
        <p:origin x="2314" y="53"/>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commentAuthors" Target="commentAuthors.xml"/><Relationship Id="rId18" Type="http://schemas.microsoft.com/office/2016/11/relationships/changesInfo" Target="changesInfos/changesInfo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ags" Target="tags/tag1.xml"/><Relationship Id="rId17"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viewProps" Target="viewProps.xml"/><Relationship Id="rId10"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udrey C. Laroche" userId="a9390768289bb6f7" providerId="LiveId" clId="{B5FEE8A9-5BCB-405A-ADC5-3F91B4F9B970}"/>
    <pc:docChg chg="undo custSel addSld delSld modSld">
      <pc:chgData name="Audrey C. Laroche" userId="a9390768289bb6f7" providerId="LiveId" clId="{B5FEE8A9-5BCB-405A-ADC5-3F91B4F9B970}" dt="2022-09-01T20:14:32.602" v="792" actId="14100"/>
      <pc:docMkLst>
        <pc:docMk/>
      </pc:docMkLst>
      <pc:sldChg chg="modSp mod">
        <pc:chgData name="Audrey C. Laroche" userId="a9390768289bb6f7" providerId="LiveId" clId="{B5FEE8A9-5BCB-405A-ADC5-3F91B4F9B970}" dt="2022-09-01T14:33:57.225" v="611"/>
        <pc:sldMkLst>
          <pc:docMk/>
          <pc:sldMk cId="1739606208" sldId="384"/>
        </pc:sldMkLst>
        <pc:spChg chg="replST delST">
          <ac:chgData name="Audrey C. Laroche" userId="a9390768289bb6f7" providerId="LiveId" clId="{B5FEE8A9-5BCB-405A-ADC5-3F91B4F9B970}" dt="2022-09-01T14:33:57.211" v="605"/>
          <ac:spMkLst>
            <pc:docMk/>
            <pc:sldMk cId="1739606208" sldId="384"/>
            <ac:spMk id="2" creationId="{00000000-0000-0000-0000-000000000000}"/>
          </ac:spMkLst>
        </pc:spChg>
        <pc:spChg chg="replST delST">
          <ac:chgData name="Audrey C. Laroche" userId="a9390768289bb6f7" providerId="LiveId" clId="{B5FEE8A9-5BCB-405A-ADC5-3F91B4F9B970}" dt="2022-09-01T14:33:57.213" v="606"/>
          <ac:spMkLst>
            <pc:docMk/>
            <pc:sldMk cId="1739606208" sldId="384"/>
            <ac:spMk id="3" creationId="{00000000-0000-0000-0000-000000000000}"/>
          </ac:spMkLst>
        </pc:spChg>
        <pc:spChg chg="replST delST">
          <ac:chgData name="Audrey C. Laroche" userId="a9390768289bb6f7" providerId="LiveId" clId="{B5FEE8A9-5BCB-405A-ADC5-3F91B4F9B970}" dt="2022-09-01T14:33:57.225" v="611"/>
          <ac:spMkLst>
            <pc:docMk/>
            <pc:sldMk cId="1739606208" sldId="384"/>
            <ac:spMk id="7" creationId="{00000000-0000-0000-0000-000000000000}"/>
          </ac:spMkLst>
        </pc:spChg>
        <pc:spChg chg="replST delST">
          <ac:chgData name="Audrey C. Laroche" userId="a9390768289bb6f7" providerId="LiveId" clId="{B5FEE8A9-5BCB-405A-ADC5-3F91B4F9B970}" dt="2022-09-01T14:33:57.209" v="604"/>
          <ac:spMkLst>
            <pc:docMk/>
            <pc:sldMk cId="1739606208" sldId="384"/>
            <ac:spMk id="8" creationId="{00000000-0000-0000-0000-000000000000}"/>
          </ac:spMkLst>
        </pc:spChg>
        <pc:spChg chg="replST delST">
          <ac:chgData name="Audrey C. Laroche" userId="a9390768289bb6f7" providerId="LiveId" clId="{B5FEE8A9-5BCB-405A-ADC5-3F91B4F9B970}" dt="2022-09-01T14:33:57.215" v="607"/>
          <ac:spMkLst>
            <pc:docMk/>
            <pc:sldMk cId="1739606208" sldId="384"/>
            <ac:spMk id="9" creationId="{00000000-0000-0000-0000-000000000000}"/>
          </ac:spMkLst>
        </pc:spChg>
        <pc:graphicFrameChg chg="replST delST">
          <ac:chgData name="Audrey C. Laroche" userId="a9390768289bb6f7" providerId="LiveId" clId="{B5FEE8A9-5BCB-405A-ADC5-3F91B4F9B970}" dt="2022-09-01T14:33:57.207" v="603"/>
          <ac:graphicFrameMkLst>
            <pc:docMk/>
            <pc:sldMk cId="1739606208" sldId="384"/>
            <ac:graphicFrameMk id="4" creationId="{00000000-0000-0000-0000-000000000000}"/>
          </ac:graphicFrameMkLst>
        </pc:graphicFrameChg>
        <pc:picChg chg="replST delST">
          <ac:chgData name="Audrey C. Laroche" userId="a9390768289bb6f7" providerId="LiveId" clId="{B5FEE8A9-5BCB-405A-ADC5-3F91B4F9B970}" dt="2022-09-01T14:33:57.196" v="602"/>
          <ac:picMkLst>
            <pc:docMk/>
            <pc:sldMk cId="1739606208" sldId="384"/>
            <ac:picMk id="6" creationId="{00000000-0000-0000-0000-000000000000}"/>
          </ac:picMkLst>
        </pc:picChg>
        <pc:picChg chg="replST delST">
          <ac:chgData name="Audrey C. Laroche" userId="a9390768289bb6f7" providerId="LiveId" clId="{B5FEE8A9-5BCB-405A-ADC5-3F91B4F9B970}" dt="2022-09-01T14:33:57.217" v="608"/>
          <ac:picMkLst>
            <pc:docMk/>
            <pc:sldMk cId="1739606208" sldId="384"/>
            <ac:picMk id="13" creationId="{00000000-0000-0000-0000-000000000000}"/>
          </ac:picMkLst>
        </pc:picChg>
        <pc:picChg chg="replST delST">
          <ac:chgData name="Audrey C. Laroche" userId="a9390768289bb6f7" providerId="LiveId" clId="{B5FEE8A9-5BCB-405A-ADC5-3F91B4F9B970}" dt="2022-09-01T14:33:57.220" v="609"/>
          <ac:picMkLst>
            <pc:docMk/>
            <pc:sldMk cId="1739606208" sldId="384"/>
            <ac:picMk id="14" creationId="{00000000-0000-0000-0000-000000000000}"/>
          </ac:picMkLst>
        </pc:picChg>
        <pc:picChg chg="replST delST">
          <ac:chgData name="Audrey C. Laroche" userId="a9390768289bb6f7" providerId="LiveId" clId="{B5FEE8A9-5BCB-405A-ADC5-3F91B4F9B970}" dt="2022-09-01T14:33:57.223" v="610"/>
          <ac:picMkLst>
            <pc:docMk/>
            <pc:sldMk cId="1739606208" sldId="384"/>
            <ac:picMk id="17" creationId="{89CA9733-78EF-5F49-81C1-064DE89D5260}"/>
          </ac:picMkLst>
        </pc:picChg>
      </pc:sldChg>
      <pc:sldChg chg="modSp mod delCm">
        <pc:chgData name="Audrey C. Laroche" userId="a9390768289bb6f7" providerId="LiveId" clId="{B5FEE8A9-5BCB-405A-ADC5-3F91B4F9B970}" dt="2022-09-01T14:33:57.229" v="613"/>
        <pc:sldMkLst>
          <pc:docMk/>
          <pc:sldMk cId="223248266" sldId="403"/>
        </pc:sldMkLst>
        <pc:spChg chg="replST delST">
          <ac:chgData name="Audrey C. Laroche" userId="a9390768289bb6f7" providerId="LiveId" clId="{B5FEE8A9-5BCB-405A-ADC5-3F91B4F9B970}" dt="2022-09-01T14:33:57.227" v="612"/>
          <ac:spMkLst>
            <pc:docMk/>
            <pc:sldMk cId="223248266" sldId="403"/>
            <ac:spMk id="5" creationId="{07EF88C7-4DA9-4E5D-AAD7-D108019E3A91}"/>
          </ac:spMkLst>
        </pc:spChg>
        <pc:spChg chg="mod replST delST">
          <ac:chgData name="Audrey C. Laroche" userId="a9390768289bb6f7" providerId="LiveId" clId="{B5FEE8A9-5BCB-405A-ADC5-3F91B4F9B970}" dt="2022-09-01T14:33:57.229" v="613"/>
          <ac:spMkLst>
            <pc:docMk/>
            <pc:sldMk cId="223248266" sldId="403"/>
            <ac:spMk id="6" creationId="{A2BD1636-0B06-4314-AE47-116EE81F83A6}"/>
          </ac:spMkLst>
        </pc:spChg>
      </pc:sldChg>
      <pc:sldChg chg="modSp mod">
        <pc:chgData name="Audrey C. Laroche" userId="a9390768289bb6f7" providerId="LiveId" clId="{B5FEE8A9-5BCB-405A-ADC5-3F91B4F9B970}" dt="2022-09-01T14:33:57.238" v="618"/>
        <pc:sldMkLst>
          <pc:docMk/>
          <pc:sldMk cId="331075049" sldId="404"/>
        </pc:sldMkLst>
        <pc:spChg chg="replST delST">
          <ac:chgData name="Audrey C. Laroche" userId="a9390768289bb6f7" providerId="LiveId" clId="{B5FEE8A9-5BCB-405A-ADC5-3F91B4F9B970}" dt="2022-09-01T14:33:57.231" v="614"/>
          <ac:spMkLst>
            <pc:docMk/>
            <pc:sldMk cId="331075049" sldId="404"/>
            <ac:spMk id="2" creationId="{E700A9EF-0E85-4D70-83D0-7B8DC72FFF20}"/>
          </ac:spMkLst>
        </pc:spChg>
        <pc:spChg chg="replST delST">
          <ac:chgData name="Audrey C. Laroche" userId="a9390768289bb6f7" providerId="LiveId" clId="{B5FEE8A9-5BCB-405A-ADC5-3F91B4F9B970}" dt="2022-09-01T14:33:57.233" v="615"/>
          <ac:spMkLst>
            <pc:docMk/>
            <pc:sldMk cId="331075049" sldId="404"/>
            <ac:spMk id="3" creationId="{DF2F17A9-C32D-442C-9222-06F096611834}"/>
          </ac:spMkLst>
        </pc:spChg>
        <pc:spChg chg="mod replST delST">
          <ac:chgData name="Audrey C. Laroche" userId="a9390768289bb6f7" providerId="LiveId" clId="{B5FEE8A9-5BCB-405A-ADC5-3F91B4F9B970}" dt="2022-09-01T14:33:57.238" v="618"/>
          <ac:spMkLst>
            <pc:docMk/>
            <pc:sldMk cId="331075049" sldId="404"/>
            <ac:spMk id="8" creationId="{BA02C8C7-D1B8-4097-9941-0E6564BF260A}"/>
          </ac:spMkLst>
        </pc:spChg>
        <pc:picChg chg="replST delST">
          <ac:chgData name="Audrey C. Laroche" userId="a9390768289bb6f7" providerId="LiveId" clId="{B5FEE8A9-5BCB-405A-ADC5-3F91B4F9B970}" dt="2022-09-01T14:33:57.234" v="616"/>
          <ac:picMkLst>
            <pc:docMk/>
            <pc:sldMk cId="331075049" sldId="404"/>
            <ac:picMk id="5" creationId="{28B8017F-C9BC-492E-BA60-3D7EC4B1849B}"/>
          </ac:picMkLst>
        </pc:picChg>
        <pc:cxnChg chg="replST delST">
          <ac:chgData name="Audrey C. Laroche" userId="a9390768289bb6f7" providerId="LiveId" clId="{B5FEE8A9-5BCB-405A-ADC5-3F91B4F9B970}" dt="2022-09-01T14:33:57.236" v="617"/>
          <ac:cxnSpMkLst>
            <pc:docMk/>
            <pc:sldMk cId="331075049" sldId="404"/>
            <ac:cxnSpMk id="7" creationId="{703848C7-C0CF-4706-AAB7-3E8BE93A52CB}"/>
          </ac:cxnSpMkLst>
        </pc:cxnChg>
      </pc:sldChg>
      <pc:sldChg chg="modSp mod">
        <pc:chgData name="Audrey C. Laroche" userId="a9390768289bb6f7" providerId="LiveId" clId="{B5FEE8A9-5BCB-405A-ADC5-3F91B4F9B970}" dt="2022-09-01T14:33:57.254" v="628"/>
        <pc:sldMkLst>
          <pc:docMk/>
          <pc:sldMk cId="897513713" sldId="405"/>
        </pc:sldMkLst>
        <pc:spChg chg="replST delST">
          <ac:chgData name="Audrey C. Laroche" userId="a9390768289bb6f7" providerId="LiveId" clId="{B5FEE8A9-5BCB-405A-ADC5-3F91B4F9B970}" dt="2022-09-01T14:33:57.240" v="619"/>
          <ac:spMkLst>
            <pc:docMk/>
            <pc:sldMk cId="897513713" sldId="405"/>
            <ac:spMk id="2" creationId="{7FA0AFF2-4F4F-47AF-B9C8-571D0131DD7F}"/>
          </ac:spMkLst>
        </pc:spChg>
        <pc:spChg chg="mod replST delST">
          <ac:chgData name="Audrey C. Laroche" userId="a9390768289bb6f7" providerId="LiveId" clId="{B5FEE8A9-5BCB-405A-ADC5-3F91B4F9B970}" dt="2022-09-01T14:33:57.242" v="620"/>
          <ac:spMkLst>
            <pc:docMk/>
            <pc:sldMk cId="897513713" sldId="405"/>
            <ac:spMk id="5" creationId="{D7B0417A-C6F6-4FC0-8EE1-300C04469C06}"/>
          </ac:spMkLst>
        </pc:spChg>
        <pc:spChg chg="mod replST delST">
          <ac:chgData name="Audrey C. Laroche" userId="a9390768289bb6f7" providerId="LiveId" clId="{B5FEE8A9-5BCB-405A-ADC5-3F91B4F9B970}" dt="2022-09-01T14:33:57.243" v="621"/>
          <ac:spMkLst>
            <pc:docMk/>
            <pc:sldMk cId="897513713" sldId="405"/>
            <ac:spMk id="6" creationId="{DA4DDA2C-E07B-46CC-8F2C-0900256FE3B3}"/>
          </ac:spMkLst>
        </pc:spChg>
        <pc:spChg chg="mod replST delST">
          <ac:chgData name="Audrey C. Laroche" userId="a9390768289bb6f7" providerId="LiveId" clId="{B5FEE8A9-5BCB-405A-ADC5-3F91B4F9B970}" dt="2022-09-01T14:33:57.245" v="622"/>
          <ac:spMkLst>
            <pc:docMk/>
            <pc:sldMk cId="897513713" sldId="405"/>
            <ac:spMk id="7" creationId="{451D65C9-B12E-4E5F-9F68-78EEBE64E6FE}"/>
          </ac:spMkLst>
        </pc:spChg>
        <pc:spChg chg="mod replST delST">
          <ac:chgData name="Audrey C. Laroche" userId="a9390768289bb6f7" providerId="LiveId" clId="{B5FEE8A9-5BCB-405A-ADC5-3F91B4F9B970}" dt="2022-09-01T14:33:57.246" v="623"/>
          <ac:spMkLst>
            <pc:docMk/>
            <pc:sldMk cId="897513713" sldId="405"/>
            <ac:spMk id="8" creationId="{E8D12326-69DC-4195-95F5-5B3428EC671E}"/>
          </ac:spMkLst>
        </pc:spChg>
        <pc:spChg chg="mod replST delST">
          <ac:chgData name="Audrey C. Laroche" userId="a9390768289bb6f7" providerId="LiveId" clId="{B5FEE8A9-5BCB-405A-ADC5-3F91B4F9B970}" dt="2022-09-01T14:33:57.248" v="624"/>
          <ac:spMkLst>
            <pc:docMk/>
            <pc:sldMk cId="897513713" sldId="405"/>
            <ac:spMk id="9" creationId="{04FCB405-4FB3-45F2-9AAA-1F6A1E43C396}"/>
          </ac:spMkLst>
        </pc:spChg>
        <pc:spChg chg="replST delST">
          <ac:chgData name="Audrey C. Laroche" userId="a9390768289bb6f7" providerId="LiveId" clId="{B5FEE8A9-5BCB-405A-ADC5-3F91B4F9B970}" dt="2022-09-01T14:33:57.249" v="625"/>
          <ac:spMkLst>
            <pc:docMk/>
            <pc:sldMk cId="897513713" sldId="405"/>
            <ac:spMk id="10" creationId="{5ACE1822-5A1D-4884-BDE5-59BBBB09B9FD}"/>
          </ac:spMkLst>
        </pc:spChg>
        <pc:spChg chg="mod replST delST">
          <ac:chgData name="Audrey C. Laroche" userId="a9390768289bb6f7" providerId="LiveId" clId="{B5FEE8A9-5BCB-405A-ADC5-3F91B4F9B970}" dt="2022-09-01T14:33:57.251" v="626"/>
          <ac:spMkLst>
            <pc:docMk/>
            <pc:sldMk cId="897513713" sldId="405"/>
            <ac:spMk id="11" creationId="{3BBEC760-FAC5-4468-B0E1-97EEF664EAB8}"/>
          </ac:spMkLst>
        </pc:spChg>
        <pc:spChg chg="mod replST delST">
          <ac:chgData name="Audrey C. Laroche" userId="a9390768289bb6f7" providerId="LiveId" clId="{B5FEE8A9-5BCB-405A-ADC5-3F91B4F9B970}" dt="2022-09-01T14:33:57.252" v="627"/>
          <ac:spMkLst>
            <pc:docMk/>
            <pc:sldMk cId="897513713" sldId="405"/>
            <ac:spMk id="12" creationId="{A6B7FF87-0426-45B1-9681-34ED1EC5CCE8}"/>
          </ac:spMkLst>
        </pc:spChg>
        <pc:spChg chg="mod replST delST">
          <ac:chgData name="Audrey C. Laroche" userId="a9390768289bb6f7" providerId="LiveId" clId="{B5FEE8A9-5BCB-405A-ADC5-3F91B4F9B970}" dt="2022-09-01T14:33:57.254" v="628"/>
          <ac:spMkLst>
            <pc:docMk/>
            <pc:sldMk cId="897513713" sldId="405"/>
            <ac:spMk id="13" creationId="{357BE104-9E90-4082-930D-8E3A3FBE0590}"/>
          </ac:spMkLst>
        </pc:spChg>
      </pc:sldChg>
      <pc:sldChg chg="modSp mod">
        <pc:chgData name="Audrey C. Laroche" userId="a9390768289bb6f7" providerId="LiveId" clId="{B5FEE8A9-5BCB-405A-ADC5-3F91B4F9B970}" dt="2022-09-01T20:12:41.647" v="705" actId="6549"/>
        <pc:sldMkLst>
          <pc:docMk/>
          <pc:sldMk cId="3684369212" sldId="406"/>
        </pc:sldMkLst>
        <pc:spChg chg="replST delST">
          <ac:chgData name="Audrey C. Laroche" userId="a9390768289bb6f7" providerId="LiveId" clId="{B5FEE8A9-5BCB-405A-ADC5-3F91B4F9B970}" dt="2022-09-01T14:33:57.256" v="629"/>
          <ac:spMkLst>
            <pc:docMk/>
            <pc:sldMk cId="3684369212" sldId="406"/>
            <ac:spMk id="2" creationId="{7FA0AFF2-4F4F-47AF-B9C8-571D0131DD7F}"/>
          </ac:spMkLst>
        </pc:spChg>
        <pc:spChg chg="mod replST delST">
          <ac:chgData name="Audrey C. Laroche" userId="a9390768289bb6f7" providerId="LiveId" clId="{B5FEE8A9-5BCB-405A-ADC5-3F91B4F9B970}" dt="2022-09-01T20:12:41.647" v="705" actId="6549"/>
          <ac:spMkLst>
            <pc:docMk/>
            <pc:sldMk cId="3684369212" sldId="406"/>
            <ac:spMk id="3" creationId="{0F6AF9F7-617C-4DFE-B8DC-F96018E7C569}"/>
          </ac:spMkLst>
        </pc:spChg>
        <pc:spChg chg="mod">
          <ac:chgData name="Audrey C. Laroche" userId="a9390768289bb6f7" providerId="LiveId" clId="{B5FEE8A9-5BCB-405A-ADC5-3F91B4F9B970}" dt="2022-09-01T14:12:00.017" v="113" actId="404"/>
          <ac:spMkLst>
            <pc:docMk/>
            <pc:sldMk cId="3684369212" sldId="406"/>
            <ac:spMk id="23" creationId="{AFD062E9-C5FA-476B-8993-96A204435F9C}"/>
          </ac:spMkLst>
        </pc:spChg>
        <pc:spChg chg="mod">
          <ac:chgData name="Audrey C. Laroche" userId="a9390768289bb6f7" providerId="LiveId" clId="{B5FEE8A9-5BCB-405A-ADC5-3F91B4F9B970}" dt="2022-09-01T14:13:39.786" v="227" actId="14100"/>
          <ac:spMkLst>
            <pc:docMk/>
            <pc:sldMk cId="3684369212" sldId="406"/>
            <ac:spMk id="24" creationId="{D84C8EDC-4DF8-45A6-8DB1-6B43D2082B32}"/>
          </ac:spMkLst>
        </pc:spChg>
        <pc:spChg chg="mod">
          <ac:chgData name="Audrey C. Laroche" userId="a9390768289bb6f7" providerId="LiveId" clId="{B5FEE8A9-5BCB-405A-ADC5-3F91B4F9B970}" dt="2022-09-01T14:11:56.322" v="112" actId="404"/>
          <ac:spMkLst>
            <pc:docMk/>
            <pc:sldMk cId="3684369212" sldId="406"/>
            <ac:spMk id="27" creationId="{A4026DAC-97BB-499A-8438-784026DC5B89}"/>
          </ac:spMkLst>
        </pc:spChg>
        <pc:spChg chg="mod">
          <ac:chgData name="Audrey C. Laroche" userId="a9390768289bb6f7" providerId="LiveId" clId="{B5FEE8A9-5BCB-405A-ADC5-3F91B4F9B970}" dt="2022-09-01T14:13:07.065" v="182" actId="1036"/>
          <ac:spMkLst>
            <pc:docMk/>
            <pc:sldMk cId="3684369212" sldId="406"/>
            <ac:spMk id="28" creationId="{1B963D51-3EF3-41A5-9E22-B712D318DACD}"/>
          </ac:spMkLst>
        </pc:spChg>
        <pc:spChg chg="mod">
          <ac:chgData name="Audrey C. Laroche" userId="a9390768289bb6f7" providerId="LiveId" clId="{B5FEE8A9-5BCB-405A-ADC5-3F91B4F9B970}" dt="2022-09-01T14:12:13.862" v="123" actId="1037"/>
          <ac:spMkLst>
            <pc:docMk/>
            <pc:sldMk cId="3684369212" sldId="406"/>
            <ac:spMk id="34" creationId="{D632A674-43C3-4740-8B20-463A39F1EA3F}"/>
          </ac:spMkLst>
        </pc:spChg>
        <pc:spChg chg="mod">
          <ac:chgData name="Audrey C. Laroche" userId="a9390768289bb6f7" providerId="LiveId" clId="{B5FEE8A9-5BCB-405A-ADC5-3F91B4F9B970}" dt="2022-09-01T14:12:47.365" v="160" actId="1037"/>
          <ac:spMkLst>
            <pc:docMk/>
            <pc:sldMk cId="3684369212" sldId="406"/>
            <ac:spMk id="37" creationId="{39E05D76-85C2-4FB0-823F-9224981A53F8}"/>
          </ac:spMkLst>
        </pc:spChg>
        <pc:grpChg chg="mod replST delST">
          <ac:chgData name="Audrey C. Laroche" userId="a9390768289bb6f7" providerId="LiveId" clId="{B5FEE8A9-5BCB-405A-ADC5-3F91B4F9B970}" dt="2022-09-01T14:33:57.259" v="631"/>
          <ac:grpSpMkLst>
            <pc:docMk/>
            <pc:sldMk cId="3684369212" sldId="406"/>
            <ac:grpSpMk id="45" creationId="{A5B9F7D6-8BD7-4379-8842-2ED5E0C76E9B}"/>
          </ac:grpSpMkLst>
        </pc:grpChg>
        <pc:picChg chg="mod">
          <ac:chgData name="Audrey C. Laroche" userId="a9390768289bb6f7" providerId="LiveId" clId="{B5FEE8A9-5BCB-405A-ADC5-3F91B4F9B970}" dt="2022-09-01T14:12:20.668" v="139" actId="1037"/>
          <ac:picMkLst>
            <pc:docMk/>
            <pc:sldMk cId="3684369212" sldId="406"/>
            <ac:picMk id="42" creationId="{BE045079-DFE8-447D-A7B6-E7B4C9D924A5}"/>
          </ac:picMkLst>
        </pc:picChg>
        <pc:picChg chg="mod">
          <ac:chgData name="Audrey C. Laroche" userId="a9390768289bb6f7" providerId="LiveId" clId="{B5FEE8A9-5BCB-405A-ADC5-3F91B4F9B970}" dt="2022-09-01T14:12:53.314" v="173" actId="1037"/>
          <ac:picMkLst>
            <pc:docMk/>
            <pc:sldMk cId="3684369212" sldId="406"/>
            <ac:picMk id="44" creationId="{E14633DA-DA48-4824-B342-C296D327DA37}"/>
          </ac:picMkLst>
        </pc:picChg>
      </pc:sldChg>
      <pc:sldChg chg="modSp mod">
        <pc:chgData name="Audrey C. Laroche" userId="a9390768289bb6f7" providerId="LiveId" clId="{B5FEE8A9-5BCB-405A-ADC5-3F91B4F9B970}" dt="2022-09-01T20:12:58.216" v="759" actId="6549"/>
        <pc:sldMkLst>
          <pc:docMk/>
          <pc:sldMk cId="2365955630" sldId="407"/>
        </pc:sldMkLst>
        <pc:spChg chg="replST delST">
          <ac:chgData name="Audrey C. Laroche" userId="a9390768289bb6f7" providerId="LiveId" clId="{B5FEE8A9-5BCB-405A-ADC5-3F91B4F9B970}" dt="2022-09-01T14:33:57.270" v="638"/>
          <ac:spMkLst>
            <pc:docMk/>
            <pc:sldMk cId="2365955630" sldId="407"/>
            <ac:spMk id="2" creationId="{7FA0AFF2-4F4F-47AF-B9C8-571D0131DD7F}"/>
          </ac:spMkLst>
        </pc:spChg>
        <pc:spChg chg="replST delST">
          <ac:chgData name="Audrey C. Laroche" userId="a9390768289bb6f7" providerId="LiveId" clId="{B5FEE8A9-5BCB-405A-ADC5-3F91B4F9B970}" dt="2022-09-01T14:33:57.271" v="639"/>
          <ac:spMkLst>
            <pc:docMk/>
            <pc:sldMk cId="2365955630" sldId="407"/>
            <ac:spMk id="3" creationId="{948F8BF9-2720-4A92-9EA6-FE7C5C99841A}"/>
          </ac:spMkLst>
        </pc:spChg>
        <pc:spChg chg="mod replST delST">
          <ac:chgData name="Audrey C. Laroche" userId="a9390768289bb6f7" providerId="LiveId" clId="{B5FEE8A9-5BCB-405A-ADC5-3F91B4F9B970}" dt="2022-09-01T14:33:57.273" v="640"/>
          <ac:spMkLst>
            <pc:docMk/>
            <pc:sldMk cId="2365955630" sldId="407"/>
            <ac:spMk id="4" creationId="{72A04E73-B020-430F-B7D1-BD2587DC071A}"/>
          </ac:spMkLst>
        </pc:spChg>
        <pc:spChg chg="replST delST">
          <ac:chgData name="Audrey C. Laroche" userId="a9390768289bb6f7" providerId="LiveId" clId="{B5FEE8A9-5BCB-405A-ADC5-3F91B4F9B970}" dt="2022-09-01T14:33:57.274" v="641"/>
          <ac:spMkLst>
            <pc:docMk/>
            <pc:sldMk cId="2365955630" sldId="407"/>
            <ac:spMk id="5" creationId="{8E4B4D27-4F4B-47A5-8E2A-141B14E9DA46}"/>
          </ac:spMkLst>
        </pc:spChg>
        <pc:spChg chg="replST delST">
          <ac:chgData name="Audrey C. Laroche" userId="a9390768289bb6f7" providerId="LiveId" clId="{B5FEE8A9-5BCB-405A-ADC5-3F91B4F9B970}" dt="2022-09-01T14:33:57.276" v="642"/>
          <ac:spMkLst>
            <pc:docMk/>
            <pc:sldMk cId="2365955630" sldId="407"/>
            <ac:spMk id="6" creationId="{ECBE23CC-DF90-48A7-819F-B77A17F3AF3C}"/>
          </ac:spMkLst>
        </pc:spChg>
        <pc:spChg chg="replST delST">
          <ac:chgData name="Audrey C. Laroche" userId="a9390768289bb6f7" providerId="LiveId" clId="{B5FEE8A9-5BCB-405A-ADC5-3F91B4F9B970}" dt="2022-09-01T14:33:57.278" v="643"/>
          <ac:spMkLst>
            <pc:docMk/>
            <pc:sldMk cId="2365955630" sldId="407"/>
            <ac:spMk id="7" creationId="{6855D7E2-5A44-47EE-B1AE-CA349032244E}"/>
          </ac:spMkLst>
        </pc:spChg>
        <pc:spChg chg="replST delST">
          <ac:chgData name="Audrey C. Laroche" userId="a9390768289bb6f7" providerId="LiveId" clId="{B5FEE8A9-5BCB-405A-ADC5-3F91B4F9B970}" dt="2022-09-01T14:33:57.279" v="644"/>
          <ac:spMkLst>
            <pc:docMk/>
            <pc:sldMk cId="2365955630" sldId="407"/>
            <ac:spMk id="15" creationId="{D9D0D4E4-8BAF-4ADD-A82C-8516B9F513FA}"/>
          </ac:spMkLst>
        </pc:spChg>
        <pc:spChg chg="replST delST">
          <ac:chgData name="Audrey C. Laroche" userId="a9390768289bb6f7" providerId="LiveId" clId="{B5FEE8A9-5BCB-405A-ADC5-3F91B4F9B970}" dt="2022-09-01T14:33:57.280" v="645"/>
          <ac:spMkLst>
            <pc:docMk/>
            <pc:sldMk cId="2365955630" sldId="407"/>
            <ac:spMk id="16" creationId="{A63D0142-81CE-4BC9-97A8-EB824438C0AD}"/>
          </ac:spMkLst>
        </pc:spChg>
        <pc:spChg chg="mod replST delST">
          <ac:chgData name="Audrey C. Laroche" userId="a9390768289bb6f7" providerId="LiveId" clId="{B5FEE8A9-5BCB-405A-ADC5-3F91B4F9B970}" dt="2022-09-01T20:12:50.909" v="732" actId="6549"/>
          <ac:spMkLst>
            <pc:docMk/>
            <pc:sldMk cId="2365955630" sldId="407"/>
            <ac:spMk id="17" creationId="{53ED85B3-003B-4404-9E77-3C307EB6E8C6}"/>
          </ac:spMkLst>
        </pc:spChg>
        <pc:spChg chg="replST delST">
          <ac:chgData name="Audrey C. Laroche" userId="a9390768289bb6f7" providerId="LiveId" clId="{B5FEE8A9-5BCB-405A-ADC5-3F91B4F9B970}" dt="2022-09-01T14:33:57.283" v="647"/>
          <ac:spMkLst>
            <pc:docMk/>
            <pc:sldMk cId="2365955630" sldId="407"/>
            <ac:spMk id="18" creationId="{326A33C0-666F-475C-8209-42DEA3322146}"/>
          </ac:spMkLst>
        </pc:spChg>
        <pc:spChg chg="replST delST">
          <ac:chgData name="Audrey C. Laroche" userId="a9390768289bb6f7" providerId="LiveId" clId="{B5FEE8A9-5BCB-405A-ADC5-3F91B4F9B970}" dt="2022-09-01T14:33:57.285" v="648"/>
          <ac:spMkLst>
            <pc:docMk/>
            <pc:sldMk cId="2365955630" sldId="407"/>
            <ac:spMk id="19" creationId="{A6AB9BC4-8F56-4540-8351-30B51A4EF9F6}"/>
          </ac:spMkLst>
        </pc:spChg>
        <pc:spChg chg="replST delST">
          <ac:chgData name="Audrey C. Laroche" userId="a9390768289bb6f7" providerId="LiveId" clId="{B5FEE8A9-5BCB-405A-ADC5-3F91B4F9B970}" dt="2022-09-01T14:33:57.286" v="649"/>
          <ac:spMkLst>
            <pc:docMk/>
            <pc:sldMk cId="2365955630" sldId="407"/>
            <ac:spMk id="20" creationId="{2322AF5B-DA29-408B-9154-12278CA944A8}"/>
          </ac:spMkLst>
        </pc:spChg>
        <pc:spChg chg="replST delST">
          <ac:chgData name="Audrey C. Laroche" userId="a9390768289bb6f7" providerId="LiveId" clId="{B5FEE8A9-5BCB-405A-ADC5-3F91B4F9B970}" dt="2022-09-01T14:33:57.288" v="650"/>
          <ac:spMkLst>
            <pc:docMk/>
            <pc:sldMk cId="2365955630" sldId="407"/>
            <ac:spMk id="34" creationId="{17BC07B6-7726-4827-8D5B-3AE18349D20F}"/>
          </ac:spMkLst>
        </pc:spChg>
        <pc:spChg chg="replST delST">
          <ac:chgData name="Audrey C. Laroche" userId="a9390768289bb6f7" providerId="LiveId" clId="{B5FEE8A9-5BCB-405A-ADC5-3F91B4F9B970}" dt="2022-09-01T14:33:57.289" v="651"/>
          <ac:spMkLst>
            <pc:docMk/>
            <pc:sldMk cId="2365955630" sldId="407"/>
            <ac:spMk id="35" creationId="{FC48BFA9-22FE-4CB2-8C0E-3EE2BF8588F7}"/>
          </ac:spMkLst>
        </pc:spChg>
        <pc:spChg chg="mod replST delST">
          <ac:chgData name="Audrey C. Laroche" userId="a9390768289bb6f7" providerId="LiveId" clId="{B5FEE8A9-5BCB-405A-ADC5-3F91B4F9B970}" dt="2022-09-01T20:12:58.216" v="759" actId="6549"/>
          <ac:spMkLst>
            <pc:docMk/>
            <pc:sldMk cId="2365955630" sldId="407"/>
            <ac:spMk id="42" creationId="{76E80E93-0EA0-418E-8A9A-1B08E33760A8}"/>
          </ac:spMkLst>
        </pc:spChg>
        <pc:cxnChg chg="mod replST delST">
          <ac:chgData name="Audrey C. Laroche" userId="a9390768289bb6f7" providerId="LiveId" clId="{B5FEE8A9-5BCB-405A-ADC5-3F91B4F9B970}" dt="2022-09-01T14:33:57.261" v="632"/>
          <ac:cxnSpMkLst>
            <pc:docMk/>
            <pc:sldMk cId="2365955630" sldId="407"/>
            <ac:cxnSpMk id="24" creationId="{F39BF62F-1BEC-4CD1-BE74-2B3E5F62DA2C}"/>
          </ac:cxnSpMkLst>
        </pc:cxnChg>
        <pc:cxnChg chg="replST delST">
          <ac:chgData name="Audrey C. Laroche" userId="a9390768289bb6f7" providerId="LiveId" clId="{B5FEE8A9-5BCB-405A-ADC5-3F91B4F9B970}" dt="2022-09-01T14:33:57.263" v="633"/>
          <ac:cxnSpMkLst>
            <pc:docMk/>
            <pc:sldMk cId="2365955630" sldId="407"/>
            <ac:cxnSpMk id="27" creationId="{EF92779D-A6E3-450E-842E-68612714A06A}"/>
          </ac:cxnSpMkLst>
        </pc:cxnChg>
        <pc:cxnChg chg="replST delST">
          <ac:chgData name="Audrey C. Laroche" userId="a9390768289bb6f7" providerId="LiveId" clId="{B5FEE8A9-5BCB-405A-ADC5-3F91B4F9B970}" dt="2022-09-01T14:33:57.264" v="634"/>
          <ac:cxnSpMkLst>
            <pc:docMk/>
            <pc:sldMk cId="2365955630" sldId="407"/>
            <ac:cxnSpMk id="29" creationId="{0180E3D2-52E0-474B-936A-4EF42C619E54}"/>
          </ac:cxnSpMkLst>
        </pc:cxnChg>
        <pc:cxnChg chg="replST delST">
          <ac:chgData name="Audrey C. Laroche" userId="a9390768289bb6f7" providerId="LiveId" clId="{B5FEE8A9-5BCB-405A-ADC5-3F91B4F9B970}" dt="2022-09-01T14:33:57.265" v="635"/>
          <ac:cxnSpMkLst>
            <pc:docMk/>
            <pc:sldMk cId="2365955630" sldId="407"/>
            <ac:cxnSpMk id="30" creationId="{746CFE04-69E8-4500-BB85-1D3FD275EEE1}"/>
          </ac:cxnSpMkLst>
        </pc:cxnChg>
        <pc:cxnChg chg="mod replST delST">
          <ac:chgData name="Audrey C. Laroche" userId="a9390768289bb6f7" providerId="LiveId" clId="{B5FEE8A9-5BCB-405A-ADC5-3F91B4F9B970}" dt="2022-09-01T14:33:57.267" v="636"/>
          <ac:cxnSpMkLst>
            <pc:docMk/>
            <pc:sldMk cId="2365955630" sldId="407"/>
            <ac:cxnSpMk id="32" creationId="{915CBA8D-BC6B-4EA2-9D89-59B3ED6F2FDA}"/>
          </ac:cxnSpMkLst>
        </pc:cxnChg>
        <pc:cxnChg chg="replST delST">
          <ac:chgData name="Audrey C. Laroche" userId="a9390768289bb6f7" providerId="LiveId" clId="{B5FEE8A9-5BCB-405A-ADC5-3F91B4F9B970}" dt="2022-09-01T14:33:57.268" v="637"/>
          <ac:cxnSpMkLst>
            <pc:docMk/>
            <pc:sldMk cId="2365955630" sldId="407"/>
            <ac:cxnSpMk id="37" creationId="{1C5F7BC6-7622-4292-8771-8274BBE590BF}"/>
          </ac:cxnSpMkLst>
        </pc:cxnChg>
        <pc:cxnChg chg="replST delST">
          <ac:chgData name="Audrey C. Laroche" userId="a9390768289bb6f7" providerId="LiveId" clId="{B5FEE8A9-5BCB-405A-ADC5-3F91B4F9B970}" dt="2022-09-01T14:33:57.291" v="652"/>
          <ac:cxnSpMkLst>
            <pc:docMk/>
            <pc:sldMk cId="2365955630" sldId="407"/>
            <ac:cxnSpMk id="40" creationId="{ED36516F-A2AA-4645-AE7B-A7AE314B81D0}"/>
          </ac:cxnSpMkLst>
        </pc:cxnChg>
        <pc:cxnChg chg="mod replST delST">
          <ac:chgData name="Audrey C. Laroche" userId="a9390768289bb6f7" providerId="LiveId" clId="{B5FEE8A9-5BCB-405A-ADC5-3F91B4F9B970}" dt="2022-09-01T14:33:57.294" v="654"/>
          <ac:cxnSpMkLst>
            <pc:docMk/>
            <pc:sldMk cId="2365955630" sldId="407"/>
            <ac:cxnSpMk id="44" creationId="{D548AE6E-0BE1-4A29-8CA2-32009CA60602}"/>
          </ac:cxnSpMkLst>
        </pc:cxnChg>
        <pc:cxnChg chg="mod replST delST">
          <ac:chgData name="Audrey C. Laroche" userId="a9390768289bb6f7" providerId="LiveId" clId="{B5FEE8A9-5BCB-405A-ADC5-3F91B4F9B970}" dt="2022-09-01T14:33:57.295" v="655"/>
          <ac:cxnSpMkLst>
            <pc:docMk/>
            <pc:sldMk cId="2365955630" sldId="407"/>
            <ac:cxnSpMk id="46" creationId="{E451E7E2-1BFA-4D8D-9CC2-9377164DA726}"/>
          </ac:cxnSpMkLst>
        </pc:cxnChg>
      </pc:sldChg>
      <pc:sldChg chg="modSp mod">
        <pc:chgData name="Audrey C. Laroche" userId="a9390768289bb6f7" providerId="LiveId" clId="{B5FEE8A9-5BCB-405A-ADC5-3F91B4F9B970}" dt="2022-09-01T14:33:57.305" v="661"/>
        <pc:sldMkLst>
          <pc:docMk/>
          <pc:sldMk cId="1265818547" sldId="408"/>
        </pc:sldMkLst>
        <pc:spChg chg="replST delST">
          <ac:chgData name="Audrey C. Laroche" userId="a9390768289bb6f7" providerId="LiveId" clId="{B5FEE8A9-5BCB-405A-ADC5-3F91B4F9B970}" dt="2022-09-01T14:33:57.297" v="656"/>
          <ac:spMkLst>
            <pc:docMk/>
            <pc:sldMk cId="1265818547" sldId="408"/>
            <ac:spMk id="2" creationId="{7FA0AFF2-4F4F-47AF-B9C8-571D0131DD7F}"/>
          </ac:spMkLst>
        </pc:spChg>
        <pc:spChg chg="mod">
          <ac:chgData name="Audrey C. Laroche" userId="a9390768289bb6f7" providerId="LiveId" clId="{B5FEE8A9-5BCB-405A-ADC5-3F91B4F9B970}" dt="2022-09-01T14:15:21.991" v="263" actId="1035"/>
          <ac:spMkLst>
            <pc:docMk/>
            <pc:sldMk cId="1265818547" sldId="408"/>
            <ac:spMk id="13" creationId="{E5559D41-58C0-473C-A7E3-A8AFCDBB7C5B}"/>
          </ac:spMkLst>
        </pc:spChg>
        <pc:spChg chg="mod">
          <ac:chgData name="Audrey C. Laroche" userId="a9390768289bb6f7" providerId="LiveId" clId="{B5FEE8A9-5BCB-405A-ADC5-3F91B4F9B970}" dt="2022-09-01T14:15:28.693" v="271" actId="1035"/>
          <ac:spMkLst>
            <pc:docMk/>
            <pc:sldMk cId="1265818547" sldId="408"/>
            <ac:spMk id="14" creationId="{796A8748-64CB-4B14-BA23-358D21513E8D}"/>
          </ac:spMkLst>
        </pc:spChg>
        <pc:spChg chg="mod">
          <ac:chgData name="Audrey C. Laroche" userId="a9390768289bb6f7" providerId="LiveId" clId="{B5FEE8A9-5BCB-405A-ADC5-3F91B4F9B970}" dt="2022-09-01T14:15:35.635" v="274" actId="1038"/>
          <ac:spMkLst>
            <pc:docMk/>
            <pc:sldMk cId="1265818547" sldId="408"/>
            <ac:spMk id="16" creationId="{B0D7991E-D4E3-453B-94DD-45806DAB45F6}"/>
          </ac:spMkLst>
        </pc:spChg>
        <pc:spChg chg="mod replST delST">
          <ac:chgData name="Audrey C. Laroche" userId="a9390768289bb6f7" providerId="LiveId" clId="{B5FEE8A9-5BCB-405A-ADC5-3F91B4F9B970}" dt="2022-09-01T14:33:57.300" v="658"/>
          <ac:spMkLst>
            <pc:docMk/>
            <pc:sldMk cId="1265818547" sldId="408"/>
            <ac:spMk id="22" creationId="{2097B146-6041-47F1-9B2D-CED56DDF9C91}"/>
          </ac:spMkLst>
        </pc:spChg>
        <pc:spChg chg="mod replST delST">
          <ac:chgData name="Audrey C. Laroche" userId="a9390768289bb6f7" providerId="LiveId" clId="{B5FEE8A9-5BCB-405A-ADC5-3F91B4F9B970}" dt="2022-09-01T14:33:57.302" v="659"/>
          <ac:spMkLst>
            <pc:docMk/>
            <pc:sldMk cId="1265818547" sldId="408"/>
            <ac:spMk id="23" creationId="{B765B734-877B-416A-B06B-163E3A21938C}"/>
          </ac:spMkLst>
        </pc:spChg>
        <pc:spChg chg="mod replST delST">
          <ac:chgData name="Audrey C. Laroche" userId="a9390768289bb6f7" providerId="LiveId" clId="{B5FEE8A9-5BCB-405A-ADC5-3F91B4F9B970}" dt="2022-09-01T14:33:57.303" v="660"/>
          <ac:spMkLst>
            <pc:docMk/>
            <pc:sldMk cId="1265818547" sldId="408"/>
            <ac:spMk id="24" creationId="{B8B441B2-94C6-4469-BDC1-A020C5BA1297}"/>
          </ac:spMkLst>
        </pc:spChg>
        <pc:spChg chg="mod replST delST">
          <ac:chgData name="Audrey C. Laroche" userId="a9390768289bb6f7" providerId="LiveId" clId="{B5FEE8A9-5BCB-405A-ADC5-3F91B4F9B970}" dt="2022-09-01T14:33:57.305" v="661"/>
          <ac:spMkLst>
            <pc:docMk/>
            <pc:sldMk cId="1265818547" sldId="408"/>
            <ac:spMk id="26" creationId="{B72D1A00-9DFB-419C-AB72-F326DA3B5CFD}"/>
          </ac:spMkLst>
        </pc:spChg>
        <pc:grpChg chg="replST delST">
          <ac:chgData name="Audrey C. Laroche" userId="a9390768289bb6f7" providerId="LiveId" clId="{B5FEE8A9-5BCB-405A-ADC5-3F91B4F9B970}" dt="2022-09-01T14:33:57.299" v="657"/>
          <ac:grpSpMkLst>
            <pc:docMk/>
            <pc:sldMk cId="1265818547" sldId="408"/>
            <ac:grpSpMk id="21" creationId="{FE23C5E2-A220-4C68-9885-282C3750BE94}"/>
          </ac:grpSpMkLst>
        </pc:grpChg>
      </pc:sldChg>
      <pc:sldChg chg="modSp mod">
        <pc:chgData name="Audrey C. Laroche" userId="a9390768289bb6f7" providerId="LiveId" clId="{B5FEE8A9-5BCB-405A-ADC5-3F91B4F9B970}" dt="2022-09-01T20:14:32.602" v="792" actId="14100"/>
        <pc:sldMkLst>
          <pc:docMk/>
          <pc:sldMk cId="1733879296" sldId="409"/>
        </pc:sldMkLst>
        <pc:spChg chg="replST delST">
          <ac:chgData name="Audrey C. Laroche" userId="a9390768289bb6f7" providerId="LiveId" clId="{B5FEE8A9-5BCB-405A-ADC5-3F91B4F9B970}" dt="2022-09-01T14:33:57.326" v="674"/>
          <ac:spMkLst>
            <pc:docMk/>
            <pc:sldMk cId="1733879296" sldId="409"/>
            <ac:spMk id="2" creationId="{7FA0AFF2-4F4F-47AF-B9C8-571D0131DD7F}"/>
          </ac:spMkLst>
        </pc:spChg>
        <pc:spChg chg="mod replST delST">
          <ac:chgData name="Audrey C. Laroche" userId="a9390768289bb6f7" providerId="LiveId" clId="{B5FEE8A9-5BCB-405A-ADC5-3F91B4F9B970}" dt="2022-09-01T20:14:25.755" v="791" actId="6549"/>
          <ac:spMkLst>
            <pc:docMk/>
            <pc:sldMk cId="1733879296" sldId="409"/>
            <ac:spMk id="3" creationId="{21CE4D1A-6336-46D6-A339-4856C55259CB}"/>
          </ac:spMkLst>
        </pc:spChg>
        <pc:spChg chg="mod replST delST">
          <ac:chgData name="Audrey C. Laroche" userId="a9390768289bb6f7" providerId="LiveId" clId="{B5FEE8A9-5BCB-405A-ADC5-3F91B4F9B970}" dt="2022-09-01T20:14:32.602" v="792" actId="14100"/>
          <ac:spMkLst>
            <pc:docMk/>
            <pc:sldMk cId="1733879296" sldId="409"/>
            <ac:spMk id="5" creationId="{E1D3059A-8F98-496C-A0C5-6B0C764DB18F}"/>
          </ac:spMkLst>
        </pc:spChg>
      </pc:sldChg>
      <pc:sldChg chg="modSp mod">
        <pc:chgData name="Audrey C. Laroche" userId="a9390768289bb6f7" providerId="LiveId" clId="{B5FEE8A9-5BCB-405A-ADC5-3F91B4F9B970}" dt="2022-09-01T14:33:57.324" v="673"/>
        <pc:sldMkLst>
          <pc:docMk/>
          <pc:sldMk cId="2503847739" sldId="410"/>
        </pc:sldMkLst>
        <pc:spChg chg="replST delST">
          <ac:chgData name="Audrey C. Laroche" userId="a9390768289bb6f7" providerId="LiveId" clId="{B5FEE8A9-5BCB-405A-ADC5-3F91B4F9B970}" dt="2022-09-01T14:33:57.307" v="662"/>
          <ac:spMkLst>
            <pc:docMk/>
            <pc:sldMk cId="2503847739" sldId="410"/>
            <ac:spMk id="2" creationId="{7FA0AFF2-4F4F-47AF-B9C8-571D0131DD7F}"/>
          </ac:spMkLst>
        </pc:spChg>
        <pc:spChg chg="mod replST delST">
          <ac:chgData name="Audrey C. Laroche" userId="a9390768289bb6f7" providerId="LiveId" clId="{B5FEE8A9-5BCB-405A-ADC5-3F91B4F9B970}" dt="2022-09-01T14:33:57.308" v="663"/>
          <ac:spMkLst>
            <pc:docMk/>
            <pc:sldMk cId="2503847739" sldId="410"/>
            <ac:spMk id="13" creationId="{C19188B3-66AB-44B1-A463-35E99C7D04A6}"/>
          </ac:spMkLst>
        </pc:spChg>
        <pc:spChg chg="mod replST delST">
          <ac:chgData name="Audrey C. Laroche" userId="a9390768289bb6f7" providerId="LiveId" clId="{B5FEE8A9-5BCB-405A-ADC5-3F91B4F9B970}" dt="2022-09-01T14:33:57.310" v="664"/>
          <ac:spMkLst>
            <pc:docMk/>
            <pc:sldMk cId="2503847739" sldId="410"/>
            <ac:spMk id="14" creationId="{8A89915E-0B52-4852-AF4A-10E4EE446F53}"/>
          </ac:spMkLst>
        </pc:spChg>
        <pc:spChg chg="mod replST delST">
          <ac:chgData name="Audrey C. Laroche" userId="a9390768289bb6f7" providerId="LiveId" clId="{B5FEE8A9-5BCB-405A-ADC5-3F91B4F9B970}" dt="2022-09-01T14:33:57.313" v="666"/>
          <ac:spMkLst>
            <pc:docMk/>
            <pc:sldMk cId="2503847739" sldId="410"/>
            <ac:spMk id="25" creationId="{1C0BC8DE-0D67-4D94-938B-520DE382C7DB}"/>
          </ac:spMkLst>
        </pc:spChg>
        <pc:spChg chg="replST delST">
          <ac:chgData name="Audrey C. Laroche" userId="a9390768289bb6f7" providerId="LiveId" clId="{B5FEE8A9-5BCB-405A-ADC5-3F91B4F9B970}" dt="2022-09-01T14:33:57.314" v="667"/>
          <ac:spMkLst>
            <pc:docMk/>
            <pc:sldMk cId="2503847739" sldId="410"/>
            <ac:spMk id="26" creationId="{90B6A075-7B82-4D03-BAEE-80A8FDA4815B}"/>
          </ac:spMkLst>
        </pc:spChg>
        <pc:spChg chg="mod replST delST">
          <ac:chgData name="Audrey C. Laroche" userId="a9390768289bb6f7" providerId="LiveId" clId="{B5FEE8A9-5BCB-405A-ADC5-3F91B4F9B970}" dt="2022-09-01T14:33:57.316" v="668"/>
          <ac:spMkLst>
            <pc:docMk/>
            <pc:sldMk cId="2503847739" sldId="410"/>
            <ac:spMk id="27" creationId="{9852F495-B492-4D3D-BFB7-7057DC268596}"/>
          </ac:spMkLst>
        </pc:spChg>
        <pc:spChg chg="mod replST delST">
          <ac:chgData name="Audrey C. Laroche" userId="a9390768289bb6f7" providerId="LiveId" clId="{B5FEE8A9-5BCB-405A-ADC5-3F91B4F9B970}" dt="2022-09-01T14:33:57.317" v="669"/>
          <ac:spMkLst>
            <pc:docMk/>
            <pc:sldMk cId="2503847739" sldId="410"/>
            <ac:spMk id="28" creationId="{D8203188-81C5-406A-8F98-E30A453C156F}"/>
          </ac:spMkLst>
        </pc:spChg>
        <pc:spChg chg="mod replST delST">
          <ac:chgData name="Audrey C. Laroche" userId="a9390768289bb6f7" providerId="LiveId" clId="{B5FEE8A9-5BCB-405A-ADC5-3F91B4F9B970}" dt="2022-09-01T14:33:57.319" v="670"/>
          <ac:spMkLst>
            <pc:docMk/>
            <pc:sldMk cId="2503847739" sldId="410"/>
            <ac:spMk id="29" creationId="{D3FF89AE-2E67-4345-8288-4FB279A75BE3}"/>
          </ac:spMkLst>
        </pc:spChg>
        <pc:spChg chg="replST delST">
          <ac:chgData name="Audrey C. Laroche" userId="a9390768289bb6f7" providerId="LiveId" clId="{B5FEE8A9-5BCB-405A-ADC5-3F91B4F9B970}" dt="2022-09-01T14:33:57.321" v="671"/>
          <ac:spMkLst>
            <pc:docMk/>
            <pc:sldMk cId="2503847739" sldId="410"/>
            <ac:spMk id="31" creationId="{6B186CCD-F917-4604-B875-F9710FCB0D48}"/>
          </ac:spMkLst>
        </pc:spChg>
        <pc:spChg chg="replST delST">
          <ac:chgData name="Audrey C. Laroche" userId="a9390768289bb6f7" providerId="LiveId" clId="{B5FEE8A9-5BCB-405A-ADC5-3F91B4F9B970}" dt="2022-09-01T14:33:57.323" v="672"/>
          <ac:spMkLst>
            <pc:docMk/>
            <pc:sldMk cId="2503847739" sldId="410"/>
            <ac:spMk id="32" creationId="{5C4209D7-DBF4-42DB-8CD8-234FBE915F70}"/>
          </ac:spMkLst>
        </pc:spChg>
        <pc:spChg chg="replST delST">
          <ac:chgData name="Audrey C. Laroche" userId="a9390768289bb6f7" providerId="LiveId" clId="{B5FEE8A9-5BCB-405A-ADC5-3F91B4F9B970}" dt="2022-09-01T14:33:57.324" v="673"/>
          <ac:spMkLst>
            <pc:docMk/>
            <pc:sldMk cId="2503847739" sldId="410"/>
            <ac:spMk id="33" creationId="{BFDD7611-740D-47E9-A1B4-91DBC4733477}"/>
          </ac:spMkLst>
        </pc:spChg>
        <pc:grpChg chg="replST delST">
          <ac:chgData name="Audrey C. Laroche" userId="a9390768289bb6f7" providerId="LiveId" clId="{B5FEE8A9-5BCB-405A-ADC5-3F91B4F9B970}" dt="2022-09-01T14:33:57.311" v="665"/>
          <ac:grpSpMkLst>
            <pc:docMk/>
            <pc:sldMk cId="2503847739" sldId="410"/>
            <ac:grpSpMk id="5" creationId="{9D103B9B-6487-4075-9714-42755DE1A34A}"/>
          </ac:grpSpMkLst>
        </pc:grpChg>
      </pc:sldChg>
      <pc:sldChg chg="new del">
        <pc:chgData name="Audrey C. Laroche" userId="a9390768289bb6f7" providerId="LiveId" clId="{B5FEE8A9-5BCB-405A-ADC5-3F91B4F9B970}" dt="2022-09-01T14:19:33.777" v="441" actId="680"/>
        <pc:sldMkLst>
          <pc:docMk/>
          <pc:sldMk cId="2214936969" sldId="411"/>
        </pc:sldMkLst>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5FBA0B1-8B5E-6C42-BD6E-E01ECCB0DC63}" type="datetimeFigureOut">
              <a:rPr lang="en-US" smtClean="0"/>
              <a:t>9/8/2022</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B4F169B-D4BC-2D47-B1AD-909F43E50BA5}" type="slidenum">
              <a:rPr lang="en-US" smtClean="0"/>
              <a:t>‹#›</a:t>
            </a:fld>
            <a:endParaRPr lang="en-US" dirty="0"/>
          </a:p>
        </p:txBody>
      </p:sp>
    </p:spTree>
    <p:extLst>
      <p:ext uri="{BB962C8B-B14F-4D97-AF65-F5344CB8AC3E}">
        <p14:creationId xmlns:p14="http://schemas.microsoft.com/office/powerpoint/2010/main" val="3269476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0666F0F-F449-CC4B-B881-E7F614156AC6}" type="datetimeFigureOut">
              <a:rPr lang="en-US" smtClean="0"/>
              <a:t>9/8/2022</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1F9BAFD-0AFE-FC47-B839-C833EEBF7ECA}" type="slidenum">
              <a:rPr lang="en-US" smtClean="0"/>
              <a:t>‹#›</a:t>
            </a:fld>
            <a:endParaRPr lang="en-US" dirty="0"/>
          </a:p>
        </p:txBody>
      </p:sp>
    </p:spTree>
    <p:extLst>
      <p:ext uri="{BB962C8B-B14F-4D97-AF65-F5344CB8AC3E}">
        <p14:creationId xmlns:p14="http://schemas.microsoft.com/office/powerpoint/2010/main" val="24945590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fr-ca" dirty="0">
              <a:solidFill>
                <a:schemeClr val="bg1"/>
              </a:solidFill>
            </a:endParaRPr>
          </a:p>
        </p:txBody>
      </p:sp>
      <p:sp>
        <p:nvSpPr>
          <p:cNvPr id="4" name="Slide Number Placeholder 3"/>
          <p:cNvSpPr>
            <a:spLocks noGrp="1"/>
          </p:cNvSpPr>
          <p:nvPr>
            <p:ph type="sldNum" sz="quarter" idx="10"/>
          </p:nvPr>
        </p:nvSpPr>
        <p:spPr/>
        <p:txBody>
          <a:bodyPr/>
          <a:lstStyle/>
          <a:p>
            <a:pPr algn="l" rtl="0"/>
            <a:fld id="{11F9BAFD-0AFE-FC47-B839-C833EEBF7ECA}" type="slidenum">
              <a:rPr>
                <a:solidFill>
                  <a:prstClr val="black"/>
                </a:solidFill>
              </a:rPr>
              <a:pPr/>
              <a:t>1</a:t>
            </a:fld>
            <a:endParaRPr lang="fr-ca" dirty="0">
              <a:solidFill>
                <a:prstClr val="black"/>
              </a:solidFill>
            </a:endParaRPr>
          </a:p>
        </p:txBody>
      </p:sp>
    </p:spTree>
    <p:extLst>
      <p:ext uri="{BB962C8B-B14F-4D97-AF65-F5344CB8AC3E}">
        <p14:creationId xmlns:p14="http://schemas.microsoft.com/office/powerpoint/2010/main" val="424716048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3" name="think-cell Slide" r:id="rId4" imgW="473" imgH="473" progId="TCLayout.ActiveDocument.1">
                  <p:embed/>
                </p:oleObj>
              </mc:Choice>
              <mc:Fallback>
                <p:oleObj name="think-cell Slide" r:id="rId4" imgW="473" imgH="473"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DBF2B2-6E29-804D-BBC2-9BEE5015365B}"/>
              </a:ext>
            </a:extLst>
          </p:cNvPr>
          <p:cNvSpPr>
            <a:spLocks noGrp="1"/>
          </p:cNvSpPr>
          <p:nvPr>
            <p:ph type="ctrTitle"/>
          </p:nvPr>
        </p:nvSpPr>
        <p:spPr>
          <a:xfrm>
            <a:off x="545306" y="2379518"/>
            <a:ext cx="11101387" cy="1295400"/>
          </a:xfrm>
        </p:spPr>
        <p:txBody>
          <a:bodyPr anchor="b">
            <a:normAutofit/>
          </a:bodyPr>
          <a:lstStyle>
            <a:lvl1pPr algn="l">
              <a:lnSpc>
                <a:spcPct val="100000"/>
              </a:lnSpc>
              <a:defRPr sz="4800"/>
            </a:lvl1pPr>
          </a:lstStyle>
          <a:p>
            <a:r>
              <a:rPr lang="en-US" dirty="0"/>
              <a:t>Click to edit Master title style</a:t>
            </a:r>
          </a:p>
        </p:txBody>
      </p:sp>
      <p:sp>
        <p:nvSpPr>
          <p:cNvPr id="3" name="Subtitle 2">
            <a:extLst>
              <a:ext uri="{FF2B5EF4-FFF2-40B4-BE49-F238E27FC236}">
                <a16:creationId xmlns:a16="http://schemas.microsoft.com/office/drawing/2014/main" id="{32033543-1E3F-E44E-9B20-569E29D9DE80}"/>
              </a:ext>
            </a:extLst>
          </p:cNvPr>
          <p:cNvSpPr>
            <a:spLocks noGrp="1"/>
          </p:cNvSpPr>
          <p:nvPr>
            <p:ph type="subTitle" idx="1" hasCustomPrompt="1"/>
          </p:nvPr>
        </p:nvSpPr>
        <p:spPr>
          <a:xfrm>
            <a:off x="545307" y="3816351"/>
            <a:ext cx="3502586" cy="678352"/>
          </a:xfrm>
        </p:spPr>
        <p:txBody>
          <a:bodyPr>
            <a:normAutofit/>
          </a:bodyPr>
          <a:lstStyle>
            <a:lvl1pPr marL="0" indent="0" algn="l">
              <a:lnSpc>
                <a:spcPct val="100000"/>
              </a:lnSpc>
              <a:buNone/>
              <a:defRPr sz="1400" b="1">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1" name="Text Placeholder 10">
            <a:extLst>
              <a:ext uri="{FF2B5EF4-FFF2-40B4-BE49-F238E27FC236}">
                <a16:creationId xmlns:a16="http://schemas.microsoft.com/office/drawing/2014/main" id="{AECE7A44-3E45-CD44-B3AE-5AEBA351C863}"/>
              </a:ext>
            </a:extLst>
          </p:cNvPr>
          <p:cNvSpPr>
            <a:spLocks noGrp="1"/>
          </p:cNvSpPr>
          <p:nvPr>
            <p:ph type="body" sz="quarter" idx="13"/>
          </p:nvPr>
        </p:nvSpPr>
        <p:spPr>
          <a:xfrm>
            <a:off x="544513" y="4335679"/>
            <a:ext cx="3494087" cy="526957"/>
          </a:xfrm>
        </p:spPr>
        <p:txBody>
          <a:bodyPr>
            <a:noAutofit/>
          </a:bodyPr>
          <a:lstStyle>
            <a:lvl1pPr marL="0" indent="0">
              <a:lnSpc>
                <a:spcPct val="100000"/>
              </a:lnSpc>
              <a:buNone/>
              <a:defRPr sz="1000"/>
            </a:lvl1pPr>
            <a:lvl2pPr marL="457200" indent="0">
              <a:buNone/>
              <a:defRPr sz="900"/>
            </a:lvl2pPr>
            <a:lvl3pPr marL="914400" indent="0">
              <a:buNone/>
              <a:defRPr sz="800"/>
            </a:lvl3pPr>
            <a:lvl4pPr marL="1371600" indent="0">
              <a:buNone/>
              <a:defRPr sz="700"/>
            </a:lvl4pPr>
            <a:lvl5pPr marL="1828800" indent="0">
              <a:buNone/>
              <a:defRPr sz="700"/>
            </a:lvl5pPr>
          </a:lstStyle>
          <a:p>
            <a:pPr lvl="0"/>
            <a:r>
              <a:rPr lang="en-US" dirty="0"/>
              <a:t>Edit Master text styles</a:t>
            </a:r>
          </a:p>
        </p:txBody>
      </p:sp>
    </p:spTree>
    <p:extLst>
      <p:ext uri="{BB962C8B-B14F-4D97-AF65-F5344CB8AC3E}">
        <p14:creationId xmlns:p14="http://schemas.microsoft.com/office/powerpoint/2010/main" val="10981209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2571751" cy="1085850"/>
          </a:xfrm>
        </p:spPr>
        <p:txBody>
          <a:bodyPr/>
          <a:lstStyle/>
          <a:p>
            <a:endParaRPr lang="en-US" dirty="0"/>
          </a:p>
        </p:txBody>
      </p:sp>
      <p:sp>
        <p:nvSpPr>
          <p:cNvPr id="17" name="Picture Placeholder 6">
            <a:extLst>
              <a:ext uri="{FF2B5EF4-FFF2-40B4-BE49-F238E27FC236}">
                <a16:creationId xmlns:a16="http://schemas.microsoft.com/office/drawing/2014/main" id="{AB5CA4C7-9DA8-9349-A7AE-66A5D6A6F642}"/>
              </a:ext>
            </a:extLst>
          </p:cNvPr>
          <p:cNvSpPr>
            <a:spLocks noGrp="1"/>
          </p:cNvSpPr>
          <p:nvPr>
            <p:ph type="pic" sz="quarter" idx="16"/>
          </p:nvPr>
        </p:nvSpPr>
        <p:spPr>
          <a:xfrm>
            <a:off x="3371849" y="1606538"/>
            <a:ext cx="2571751" cy="1085850"/>
          </a:xfrm>
        </p:spPr>
        <p:txBody>
          <a:bodyPr/>
          <a:lstStyle/>
          <a:p>
            <a:endParaRPr lang="en-US" dirty="0"/>
          </a:p>
        </p:txBody>
      </p:sp>
      <p:sp>
        <p:nvSpPr>
          <p:cNvPr id="20" name="Picture Placeholder 6">
            <a:extLst>
              <a:ext uri="{FF2B5EF4-FFF2-40B4-BE49-F238E27FC236}">
                <a16:creationId xmlns:a16="http://schemas.microsoft.com/office/drawing/2014/main" id="{0BDB9676-2139-3E4A-8902-B788AA4A1430}"/>
              </a:ext>
            </a:extLst>
          </p:cNvPr>
          <p:cNvSpPr>
            <a:spLocks noGrp="1"/>
          </p:cNvSpPr>
          <p:nvPr>
            <p:ph type="pic" sz="quarter" idx="19"/>
          </p:nvPr>
        </p:nvSpPr>
        <p:spPr>
          <a:xfrm>
            <a:off x="6243636" y="1606538"/>
            <a:ext cx="2571751" cy="1085850"/>
          </a:xfrm>
        </p:spPr>
        <p:txBody>
          <a:bodyPr/>
          <a:lstStyle/>
          <a:p>
            <a:endParaRPr lang="en-US" dirty="0"/>
          </a:p>
        </p:txBody>
      </p:sp>
      <p:sp>
        <p:nvSpPr>
          <p:cNvPr id="23" name="Picture Placeholder 6">
            <a:extLst>
              <a:ext uri="{FF2B5EF4-FFF2-40B4-BE49-F238E27FC236}">
                <a16:creationId xmlns:a16="http://schemas.microsoft.com/office/drawing/2014/main" id="{3AAEAB4E-EA57-5D45-ADBA-C01E02C67167}"/>
              </a:ext>
            </a:extLst>
          </p:cNvPr>
          <p:cNvSpPr>
            <a:spLocks noGrp="1"/>
          </p:cNvSpPr>
          <p:nvPr>
            <p:ph type="pic" sz="quarter" idx="22"/>
          </p:nvPr>
        </p:nvSpPr>
        <p:spPr>
          <a:xfrm>
            <a:off x="9086849" y="1606538"/>
            <a:ext cx="2438028" cy="1085850"/>
          </a:xfrm>
        </p:spPr>
        <p:txBody>
          <a:bodyPr/>
          <a:lstStyle/>
          <a:p>
            <a:endParaRPr lang="en-US" dirty="0"/>
          </a:p>
        </p:txBody>
      </p:sp>
      <p:sp>
        <p:nvSpPr>
          <p:cNvPr id="18" name="Text Placeholder 2">
            <a:extLst>
              <a:ext uri="{FF2B5EF4-FFF2-40B4-BE49-F238E27FC236}">
                <a16:creationId xmlns:a16="http://schemas.microsoft.com/office/drawing/2014/main" id="{EDDF9A85-81B8-594C-8E42-376FC3678AA4}"/>
              </a:ext>
            </a:extLst>
          </p:cNvPr>
          <p:cNvSpPr>
            <a:spLocks noGrp="1"/>
          </p:cNvSpPr>
          <p:nvPr>
            <p:ph type="body" idx="1" hasCustomPrompt="1"/>
          </p:nvPr>
        </p:nvSpPr>
        <p:spPr>
          <a:xfrm>
            <a:off x="542925"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D07625D3-4631-D144-A38F-D00BCF2C2126}"/>
              </a:ext>
            </a:extLst>
          </p:cNvPr>
          <p:cNvSpPr>
            <a:spLocks noGrp="1"/>
          </p:cNvSpPr>
          <p:nvPr>
            <p:ph idx="15"/>
          </p:nvPr>
        </p:nvSpPr>
        <p:spPr>
          <a:xfrm>
            <a:off x="538161"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
            <a:extLst>
              <a:ext uri="{FF2B5EF4-FFF2-40B4-BE49-F238E27FC236}">
                <a16:creationId xmlns:a16="http://schemas.microsoft.com/office/drawing/2014/main" id="{7A595DD1-B636-EA46-A519-6AA9C65FD62C}"/>
              </a:ext>
            </a:extLst>
          </p:cNvPr>
          <p:cNvSpPr>
            <a:spLocks noGrp="1"/>
          </p:cNvSpPr>
          <p:nvPr>
            <p:ph type="body" idx="23" hasCustomPrompt="1"/>
          </p:nvPr>
        </p:nvSpPr>
        <p:spPr>
          <a:xfrm>
            <a:off x="3373211"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A995848D-37D6-C04D-BDF8-0D8718112883}"/>
              </a:ext>
            </a:extLst>
          </p:cNvPr>
          <p:cNvSpPr>
            <a:spLocks noGrp="1"/>
          </p:cNvSpPr>
          <p:nvPr>
            <p:ph idx="24"/>
          </p:nvPr>
        </p:nvSpPr>
        <p:spPr>
          <a:xfrm>
            <a:off x="3368447"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2">
            <a:extLst>
              <a:ext uri="{FF2B5EF4-FFF2-40B4-BE49-F238E27FC236}">
                <a16:creationId xmlns:a16="http://schemas.microsoft.com/office/drawing/2014/main" id="{BFC0A166-67A0-2340-971A-FD7BAF6FB8CF}"/>
              </a:ext>
            </a:extLst>
          </p:cNvPr>
          <p:cNvSpPr>
            <a:spLocks noGrp="1"/>
          </p:cNvSpPr>
          <p:nvPr>
            <p:ph type="body" idx="25" hasCustomPrompt="1"/>
          </p:nvPr>
        </p:nvSpPr>
        <p:spPr>
          <a:xfrm>
            <a:off x="6225268"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10E95A27-B41C-7F48-9F77-4204B73512BE}"/>
              </a:ext>
            </a:extLst>
          </p:cNvPr>
          <p:cNvSpPr>
            <a:spLocks noGrp="1"/>
          </p:cNvSpPr>
          <p:nvPr>
            <p:ph idx="26"/>
          </p:nvPr>
        </p:nvSpPr>
        <p:spPr>
          <a:xfrm>
            <a:off x="6220504"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7D1A0976-12BB-6843-AA08-4891F82E3E12}"/>
              </a:ext>
            </a:extLst>
          </p:cNvPr>
          <p:cNvSpPr>
            <a:spLocks noGrp="1"/>
          </p:cNvSpPr>
          <p:nvPr>
            <p:ph type="body" idx="27" hasCustomPrompt="1"/>
          </p:nvPr>
        </p:nvSpPr>
        <p:spPr>
          <a:xfrm>
            <a:off x="9077325" y="2878599"/>
            <a:ext cx="2437779"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7" name="Content Placeholder 2">
            <a:extLst>
              <a:ext uri="{FF2B5EF4-FFF2-40B4-BE49-F238E27FC236}">
                <a16:creationId xmlns:a16="http://schemas.microsoft.com/office/drawing/2014/main" id="{0CE6D17D-6FF8-034C-B243-541C6CC0C0A7}"/>
              </a:ext>
            </a:extLst>
          </p:cNvPr>
          <p:cNvSpPr>
            <a:spLocks noGrp="1"/>
          </p:cNvSpPr>
          <p:nvPr>
            <p:ph idx="28"/>
          </p:nvPr>
        </p:nvSpPr>
        <p:spPr>
          <a:xfrm>
            <a:off x="9072561" y="3194688"/>
            <a:ext cx="2442543"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3"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4" name="Straight Connector 33">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54478196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30838" cy="25225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2522550"/>
          </a:xfrm>
        </p:spPr>
        <p:txBody>
          <a:bodyPr/>
          <a:lstStyle/>
          <a:p>
            <a:endParaRPr lang="en-US" dirty="0"/>
          </a:p>
        </p:txBody>
      </p:sp>
      <p:sp>
        <p:nvSpPr>
          <p:cNvPr id="15" name="Text Placeholder 2">
            <a:extLst>
              <a:ext uri="{FF2B5EF4-FFF2-40B4-BE49-F238E27FC236}">
                <a16:creationId xmlns:a16="http://schemas.microsoft.com/office/drawing/2014/main" id="{FBD7B9AD-945C-F149-B2DA-39EC98B68E99}"/>
              </a:ext>
            </a:extLst>
          </p:cNvPr>
          <p:cNvSpPr>
            <a:spLocks noGrp="1"/>
          </p:cNvSpPr>
          <p:nvPr>
            <p:ph type="body" idx="1" hasCustomPrompt="1"/>
          </p:nvPr>
        </p:nvSpPr>
        <p:spPr>
          <a:xfrm>
            <a:off x="542925" y="4307350"/>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47D4007-27E8-6B41-B124-3799DE9D3414}"/>
              </a:ext>
            </a:extLst>
          </p:cNvPr>
          <p:cNvSpPr>
            <a:spLocks noGrp="1"/>
          </p:cNvSpPr>
          <p:nvPr>
            <p:ph idx="15"/>
          </p:nvPr>
        </p:nvSpPr>
        <p:spPr>
          <a:xfrm>
            <a:off x="538161" y="4601668"/>
            <a:ext cx="5405440"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BE58BC4C-2568-1D44-AC5F-BB2715C9AD23}"/>
              </a:ext>
            </a:extLst>
          </p:cNvPr>
          <p:cNvSpPr>
            <a:spLocks noGrp="1"/>
          </p:cNvSpPr>
          <p:nvPr>
            <p:ph type="body" idx="16" hasCustomPrompt="1"/>
          </p:nvPr>
        </p:nvSpPr>
        <p:spPr>
          <a:xfrm>
            <a:off x="6247039" y="4307350"/>
            <a:ext cx="526806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8" name="Content Placeholder 2">
            <a:extLst>
              <a:ext uri="{FF2B5EF4-FFF2-40B4-BE49-F238E27FC236}">
                <a16:creationId xmlns:a16="http://schemas.microsoft.com/office/drawing/2014/main" id="{3961F923-F71F-6342-AF54-96059A451659}"/>
              </a:ext>
            </a:extLst>
          </p:cNvPr>
          <p:cNvSpPr>
            <a:spLocks noGrp="1"/>
          </p:cNvSpPr>
          <p:nvPr>
            <p:ph idx="17"/>
          </p:nvPr>
        </p:nvSpPr>
        <p:spPr>
          <a:xfrm>
            <a:off x="6242275" y="4601668"/>
            <a:ext cx="5246813"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2" name="Straight Connector 2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26463268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p:spPr>
        <p:txBody>
          <a:bodyPr/>
          <a:lstStyle/>
          <a:p>
            <a:endParaRPr lang="en-US" dirty="0"/>
          </a:p>
        </p:txBody>
      </p:sp>
      <p:sp>
        <p:nvSpPr>
          <p:cNvPr id="15"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0" y="1606538"/>
            <a:ext cx="3495675" cy="2522550"/>
          </a:xfrm>
        </p:spPr>
        <p:txBody>
          <a:bodyPr/>
          <a:lstStyle/>
          <a:p>
            <a:endParaRPr lang="en-US" dirty="0"/>
          </a:p>
        </p:txBody>
      </p:sp>
      <p:sp>
        <p:nvSpPr>
          <p:cNvPr id="18" name="Picture Placeholder 6">
            <a:extLst>
              <a:ext uri="{FF2B5EF4-FFF2-40B4-BE49-F238E27FC236}">
                <a16:creationId xmlns:a16="http://schemas.microsoft.com/office/drawing/2014/main" id="{B818FFBC-FCFC-9842-8A48-4D05E54A6C5A}"/>
              </a:ext>
            </a:extLst>
          </p:cNvPr>
          <p:cNvSpPr>
            <a:spLocks noGrp="1"/>
          </p:cNvSpPr>
          <p:nvPr>
            <p:ph type="pic" sz="quarter" idx="23"/>
          </p:nvPr>
        </p:nvSpPr>
        <p:spPr>
          <a:xfrm>
            <a:off x="8129589" y="1606538"/>
            <a:ext cx="3385516" cy="2522550"/>
          </a:xfrm>
        </p:spPr>
        <p:txBody>
          <a:bodyPr/>
          <a:lstStyle/>
          <a:p>
            <a:endParaRPr lang="en-US" dirty="0"/>
          </a:p>
        </p:txBody>
      </p:sp>
      <p:sp>
        <p:nvSpPr>
          <p:cNvPr id="16"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5"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1"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5"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
            <a:extLst>
              <a:ext uri="{FF2B5EF4-FFF2-40B4-BE49-F238E27FC236}">
                <a16:creationId xmlns:a16="http://schemas.microsoft.com/office/drawing/2014/main" id="{30311FA8-9690-B047-B085-60DB7E39A20E}"/>
              </a:ext>
            </a:extLst>
          </p:cNvPr>
          <p:cNvSpPr>
            <a:spLocks noGrp="1"/>
          </p:cNvSpPr>
          <p:nvPr>
            <p:ph type="body" idx="26" hasCustomPrompt="1"/>
          </p:nvPr>
        </p:nvSpPr>
        <p:spPr>
          <a:xfrm>
            <a:off x="8141153" y="4307350"/>
            <a:ext cx="337395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3" name="Content Placeholder 2">
            <a:extLst>
              <a:ext uri="{FF2B5EF4-FFF2-40B4-BE49-F238E27FC236}">
                <a16:creationId xmlns:a16="http://schemas.microsoft.com/office/drawing/2014/main" id="{319F1970-3114-824F-93E4-D6E3FA50D6C5}"/>
              </a:ext>
            </a:extLst>
          </p:cNvPr>
          <p:cNvSpPr>
            <a:spLocks noGrp="1"/>
          </p:cNvSpPr>
          <p:nvPr>
            <p:ph idx="27"/>
          </p:nvPr>
        </p:nvSpPr>
        <p:spPr>
          <a:xfrm>
            <a:off x="8136389" y="4601668"/>
            <a:ext cx="33787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59624524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6" y="1606538"/>
            <a:ext cx="2571750" cy="2522550"/>
          </a:xfrm>
        </p:spPr>
        <p:txBody>
          <a:bodyPr/>
          <a:lstStyle/>
          <a:p>
            <a:endParaRPr lang="en-US" dirty="0"/>
          </a:p>
        </p:txBody>
      </p:sp>
      <p:sp>
        <p:nvSpPr>
          <p:cNvPr id="21" name="Picture Placeholder 6">
            <a:extLst>
              <a:ext uri="{FF2B5EF4-FFF2-40B4-BE49-F238E27FC236}">
                <a16:creationId xmlns:a16="http://schemas.microsoft.com/office/drawing/2014/main" id="{F954EBDC-0C0D-8C42-BD84-62A045BA7F66}"/>
              </a:ext>
            </a:extLst>
          </p:cNvPr>
          <p:cNvSpPr>
            <a:spLocks noGrp="1"/>
          </p:cNvSpPr>
          <p:nvPr>
            <p:ph type="pic" sz="quarter" idx="20"/>
          </p:nvPr>
        </p:nvSpPr>
        <p:spPr>
          <a:xfrm>
            <a:off x="3400426" y="1606538"/>
            <a:ext cx="2571750" cy="2522550"/>
          </a:xfrm>
        </p:spPr>
        <p:txBody>
          <a:bodyPr/>
          <a:lstStyle/>
          <a:p>
            <a:endParaRPr lang="en-US" dirty="0"/>
          </a:p>
        </p:txBody>
      </p:sp>
      <p:sp>
        <p:nvSpPr>
          <p:cNvPr id="24" name="Picture Placeholder 6">
            <a:extLst>
              <a:ext uri="{FF2B5EF4-FFF2-40B4-BE49-F238E27FC236}">
                <a16:creationId xmlns:a16="http://schemas.microsoft.com/office/drawing/2014/main" id="{0D95A988-ADA4-2846-979A-FD44F1A4FBEB}"/>
              </a:ext>
            </a:extLst>
          </p:cNvPr>
          <p:cNvSpPr>
            <a:spLocks noGrp="1"/>
          </p:cNvSpPr>
          <p:nvPr>
            <p:ph type="pic" sz="quarter" idx="23"/>
          </p:nvPr>
        </p:nvSpPr>
        <p:spPr>
          <a:xfrm>
            <a:off x="6243639" y="1606538"/>
            <a:ext cx="2571750" cy="2522550"/>
          </a:xfrm>
        </p:spPr>
        <p:txBody>
          <a:bodyPr/>
          <a:lstStyle/>
          <a:p>
            <a:endParaRPr lang="en-US" dirty="0"/>
          </a:p>
        </p:txBody>
      </p:sp>
      <p:sp>
        <p:nvSpPr>
          <p:cNvPr id="27" name="Picture Placeholder 6">
            <a:extLst>
              <a:ext uri="{FF2B5EF4-FFF2-40B4-BE49-F238E27FC236}">
                <a16:creationId xmlns:a16="http://schemas.microsoft.com/office/drawing/2014/main" id="{6839EE6C-2C09-9949-AA2C-88119F234581}"/>
              </a:ext>
            </a:extLst>
          </p:cNvPr>
          <p:cNvSpPr>
            <a:spLocks noGrp="1"/>
          </p:cNvSpPr>
          <p:nvPr>
            <p:ph type="pic" sz="quarter" idx="26"/>
          </p:nvPr>
        </p:nvSpPr>
        <p:spPr>
          <a:xfrm>
            <a:off x="9058276" y="1606538"/>
            <a:ext cx="2459757" cy="2522550"/>
          </a:xfrm>
        </p:spPr>
        <p:txBody>
          <a:bodyPr/>
          <a:lstStyle/>
          <a:p>
            <a:endParaRPr lang="en-US" dirty="0"/>
          </a:p>
        </p:txBody>
      </p:sp>
      <p:sp>
        <p:nvSpPr>
          <p:cNvPr id="18" name="Text Placeholder 2">
            <a:extLst>
              <a:ext uri="{FF2B5EF4-FFF2-40B4-BE49-F238E27FC236}">
                <a16:creationId xmlns:a16="http://schemas.microsoft.com/office/drawing/2014/main" id="{E079E8AD-12D3-6546-968E-72EB672317AA}"/>
              </a:ext>
            </a:extLst>
          </p:cNvPr>
          <p:cNvSpPr>
            <a:spLocks noGrp="1"/>
          </p:cNvSpPr>
          <p:nvPr>
            <p:ph type="body" idx="1" hasCustomPrompt="1"/>
          </p:nvPr>
        </p:nvSpPr>
        <p:spPr>
          <a:xfrm>
            <a:off x="542925"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A296A8EA-86DB-FC4D-BC77-160A57D989AF}"/>
              </a:ext>
            </a:extLst>
          </p:cNvPr>
          <p:cNvSpPr>
            <a:spLocks noGrp="1"/>
          </p:cNvSpPr>
          <p:nvPr>
            <p:ph idx="15"/>
          </p:nvPr>
        </p:nvSpPr>
        <p:spPr>
          <a:xfrm>
            <a:off x="538161"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2705B1A4-0935-A54C-982E-3DA340F87D4A}"/>
              </a:ext>
            </a:extLst>
          </p:cNvPr>
          <p:cNvSpPr>
            <a:spLocks noGrp="1"/>
          </p:cNvSpPr>
          <p:nvPr>
            <p:ph type="body" idx="27" hasCustomPrompt="1"/>
          </p:nvPr>
        </p:nvSpPr>
        <p:spPr>
          <a:xfrm>
            <a:off x="3405868"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CAB80D97-AAE2-2D40-9CC8-0D12B6BEFD34}"/>
              </a:ext>
            </a:extLst>
          </p:cNvPr>
          <p:cNvSpPr>
            <a:spLocks noGrp="1"/>
          </p:cNvSpPr>
          <p:nvPr>
            <p:ph idx="28"/>
          </p:nvPr>
        </p:nvSpPr>
        <p:spPr>
          <a:xfrm>
            <a:off x="3401104"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2">
            <a:extLst>
              <a:ext uri="{FF2B5EF4-FFF2-40B4-BE49-F238E27FC236}">
                <a16:creationId xmlns:a16="http://schemas.microsoft.com/office/drawing/2014/main" id="{C46255BB-B53E-F143-8DCC-368B651E8333}"/>
              </a:ext>
            </a:extLst>
          </p:cNvPr>
          <p:cNvSpPr>
            <a:spLocks noGrp="1"/>
          </p:cNvSpPr>
          <p:nvPr>
            <p:ph type="body" idx="29" hasCustomPrompt="1"/>
          </p:nvPr>
        </p:nvSpPr>
        <p:spPr>
          <a:xfrm>
            <a:off x="6236154"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24610589-EA76-8540-99A0-FCF68932BE3C}"/>
              </a:ext>
            </a:extLst>
          </p:cNvPr>
          <p:cNvSpPr>
            <a:spLocks noGrp="1"/>
          </p:cNvSpPr>
          <p:nvPr>
            <p:ph idx="30"/>
          </p:nvPr>
        </p:nvSpPr>
        <p:spPr>
          <a:xfrm>
            <a:off x="6231390"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195337D1-2A14-AC46-9E61-C0B6DF09A78E}"/>
              </a:ext>
            </a:extLst>
          </p:cNvPr>
          <p:cNvSpPr>
            <a:spLocks noGrp="1"/>
          </p:cNvSpPr>
          <p:nvPr>
            <p:ph type="body" idx="31" hasCustomPrompt="1"/>
          </p:nvPr>
        </p:nvSpPr>
        <p:spPr>
          <a:xfrm>
            <a:off x="9055554" y="4307350"/>
            <a:ext cx="247589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8" name="Content Placeholder 2">
            <a:extLst>
              <a:ext uri="{FF2B5EF4-FFF2-40B4-BE49-F238E27FC236}">
                <a16:creationId xmlns:a16="http://schemas.microsoft.com/office/drawing/2014/main" id="{4F7C987D-CA92-364A-A879-5D136287E479}"/>
              </a:ext>
            </a:extLst>
          </p:cNvPr>
          <p:cNvSpPr>
            <a:spLocks noGrp="1"/>
          </p:cNvSpPr>
          <p:nvPr>
            <p:ph idx="32"/>
          </p:nvPr>
        </p:nvSpPr>
        <p:spPr>
          <a:xfrm>
            <a:off x="9050791" y="4601668"/>
            <a:ext cx="2464314"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5" name="Straight Connector 34">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86321953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2" name="Straight Connector 1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3553103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5" name="think-cell Slide" r:id="rId4" imgW="473" imgH="473" progId="TCLayout.ActiveDocument.1">
                  <p:embed/>
                </p:oleObj>
              </mc:Choice>
              <mc:Fallback>
                <p:oleObj name="think-cell Slide" r:id="rId4" imgW="473" imgH="47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p:spPr>
        <p:txBody>
          <a:bodyPr/>
          <a:lstStyle/>
          <a:p>
            <a:endParaRPr lang="en-US" dirty="0"/>
          </a:p>
        </p:txBody>
      </p:sp>
      <p:sp>
        <p:nvSpPr>
          <p:cNvPr id="4"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4" y="5592101"/>
            <a:ext cx="5079103" cy="687513"/>
          </a:xfr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5370150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0324E0B-F39F-1D43-9422-07A82894B084}"/>
              </a:ext>
            </a:extLst>
          </p:cNvPr>
          <p:cNvSpPr>
            <a:spLocks noGrp="1"/>
          </p:cNvSpPr>
          <p:nvPr>
            <p:ph type="body" sz="half" idx="2"/>
          </p:nvPr>
        </p:nvSpPr>
        <p:spPr>
          <a:xfrm>
            <a:off x="554039" y="1973260"/>
            <a:ext cx="3484562" cy="4141790"/>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0"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1" name="Content Placeholder 2">
            <a:extLst>
              <a:ext uri="{FF2B5EF4-FFF2-40B4-BE49-F238E27FC236}">
                <a16:creationId xmlns:a16="http://schemas.microsoft.com/office/drawing/2014/main" id="{13EA26D9-6642-A64C-BE94-B9F7CC25EAE9}"/>
              </a:ext>
            </a:extLst>
          </p:cNvPr>
          <p:cNvSpPr>
            <a:spLocks noGrp="1"/>
          </p:cNvSpPr>
          <p:nvPr>
            <p:ph idx="1" hasCustomPrompt="1"/>
          </p:nvPr>
        </p:nvSpPr>
        <p:spPr>
          <a:xfrm>
            <a:off x="4299857" y="1657350"/>
            <a:ext cx="721524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63585819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767E1D94-0DDA-C347-B8A1-E074FA2B0923}"/>
              </a:ext>
            </a:extLst>
          </p:cNvPr>
          <p:cNvSpPr>
            <a:spLocks noGrp="1"/>
          </p:cNvSpPr>
          <p:nvPr>
            <p:ph idx="1" hasCustomPrompt="1"/>
          </p:nvPr>
        </p:nvSpPr>
        <p:spPr>
          <a:xfrm>
            <a:off x="3400426" y="1657350"/>
            <a:ext cx="811467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0FC81611-5E2D-F944-B5DC-77F0EC084D11}"/>
              </a:ext>
            </a:extLst>
          </p:cNvPr>
          <p:cNvSpPr>
            <a:spLocks noGrp="1"/>
          </p:cNvSpPr>
          <p:nvPr>
            <p:ph type="body" sz="half" idx="2"/>
          </p:nvPr>
        </p:nvSpPr>
        <p:spPr>
          <a:xfrm>
            <a:off x="554039" y="1995032"/>
            <a:ext cx="26463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D5697742-5BFD-E94D-9B39-3F15B43192AC}"/>
              </a:ext>
            </a:extLst>
          </p:cNvPr>
          <p:cNvSpPr>
            <a:spLocks noGrp="1"/>
          </p:cNvSpPr>
          <p:nvPr>
            <p:ph type="body" idx="13" hasCustomPrompt="1"/>
          </p:nvPr>
        </p:nvSpPr>
        <p:spPr>
          <a:xfrm>
            <a:off x="542925" y="1657350"/>
            <a:ext cx="2654801"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405036029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07D81E4E-2C89-5449-A7CA-1170F511CF01}"/>
              </a:ext>
            </a:extLst>
          </p:cNvPr>
          <p:cNvSpPr>
            <a:spLocks noGrp="1"/>
          </p:cNvSpPr>
          <p:nvPr>
            <p:ph idx="1" hasCustomPrompt="1"/>
          </p:nvPr>
        </p:nvSpPr>
        <p:spPr>
          <a:xfrm>
            <a:off x="7172324" y="1657350"/>
            <a:ext cx="434278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3">
            <a:extLst>
              <a:ext uri="{FF2B5EF4-FFF2-40B4-BE49-F238E27FC236}">
                <a16:creationId xmlns:a16="http://schemas.microsoft.com/office/drawing/2014/main" id="{7222704C-5B0D-8243-A65D-0547A2F09055}"/>
              </a:ext>
            </a:extLst>
          </p:cNvPr>
          <p:cNvSpPr>
            <a:spLocks noGrp="1"/>
          </p:cNvSpPr>
          <p:nvPr>
            <p:ph type="body" sz="half" idx="14"/>
          </p:nvPr>
        </p:nvSpPr>
        <p:spPr>
          <a:xfrm>
            <a:off x="553625" y="1995032"/>
            <a:ext cx="44370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5" name="Text Placeholder 2">
            <a:extLst>
              <a:ext uri="{FF2B5EF4-FFF2-40B4-BE49-F238E27FC236}">
                <a16:creationId xmlns:a16="http://schemas.microsoft.com/office/drawing/2014/main" id="{52F83407-BFB3-F64E-B383-6B15D587BC06}"/>
              </a:ext>
            </a:extLst>
          </p:cNvPr>
          <p:cNvSpPr>
            <a:spLocks noGrp="1"/>
          </p:cNvSpPr>
          <p:nvPr>
            <p:ph type="body" idx="15" hasCustomPrompt="1"/>
          </p:nvPr>
        </p:nvSpPr>
        <p:spPr>
          <a:xfrm>
            <a:off x="542511" y="1657350"/>
            <a:ext cx="4451212"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22408149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4C1560E6-0616-1E46-BCD0-77413CEC3322}"/>
              </a:ext>
            </a:extLst>
          </p:cNvPr>
          <p:cNvSpPr>
            <a:spLocks noGrp="1"/>
          </p:cNvSpPr>
          <p:nvPr>
            <p:ph type="body" sz="half" idx="2"/>
          </p:nvPr>
        </p:nvSpPr>
        <p:spPr>
          <a:xfrm>
            <a:off x="8164514" y="1995032"/>
            <a:ext cx="3350590"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3099CEF0-FDAD-0348-826B-EDF0A6A44E9A}"/>
              </a:ext>
            </a:extLst>
          </p:cNvPr>
          <p:cNvSpPr>
            <a:spLocks noGrp="1"/>
          </p:cNvSpPr>
          <p:nvPr>
            <p:ph type="body" idx="13" hasCustomPrompt="1"/>
          </p:nvPr>
        </p:nvSpPr>
        <p:spPr>
          <a:xfrm>
            <a:off x="8153401" y="1657350"/>
            <a:ext cx="3361276"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2" name="Content Placeholder 2">
            <a:extLst>
              <a:ext uri="{FF2B5EF4-FFF2-40B4-BE49-F238E27FC236}">
                <a16:creationId xmlns:a16="http://schemas.microsoft.com/office/drawing/2014/main" id="{575CC65B-0B09-0840-85B2-DC45DA3AEBBB}"/>
              </a:ext>
            </a:extLst>
          </p:cNvPr>
          <p:cNvSpPr>
            <a:spLocks noGrp="1"/>
          </p:cNvSpPr>
          <p:nvPr>
            <p:ph idx="1" hasCustomPrompt="1"/>
          </p:nvPr>
        </p:nvSpPr>
        <p:spPr>
          <a:xfrm>
            <a:off x="552450" y="1657350"/>
            <a:ext cx="7344455"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25920267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3622894"/>
            <a:ext cx="11115674" cy="939581"/>
          </a:xfrm>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4573459"/>
            <a:ext cx="5573988" cy="1027374"/>
          </a:xfr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9">
            <a:extLst>
              <a:ext uri="{FF2B5EF4-FFF2-40B4-BE49-F238E27FC236}">
                <a16:creationId xmlns:a16="http://schemas.microsoft.com/office/drawing/2014/main" id="{582DCF5F-B937-2640-A4A5-1D021401E3B1}"/>
              </a:ext>
            </a:extLst>
          </p:cNvPr>
          <p:cNvSpPr>
            <a:spLocks noGrp="1"/>
          </p:cNvSpPr>
          <p:nvPr>
            <p:ph type="body" sz="quarter" idx="16"/>
          </p:nvPr>
        </p:nvSpPr>
        <p:spPr>
          <a:xfrm>
            <a:off x="528638" y="2085280"/>
            <a:ext cx="11115674" cy="1621662"/>
          </a:xfrm>
        </p:spPr>
        <p:txBody>
          <a:bodyPr anchor="b">
            <a:normAutofit/>
          </a:bodyPr>
          <a:lstStyle>
            <a:lvl1pPr marL="0" indent="0">
              <a:buNone/>
              <a:defRPr sz="6600" b="1"/>
            </a:lvl1pPr>
          </a:lstStyle>
          <a:p>
            <a:pPr lvl="0"/>
            <a:r>
              <a:rPr lang="en-US" dirty="0"/>
              <a:t>Edit Master text styles</a:t>
            </a:r>
          </a:p>
        </p:txBody>
      </p:sp>
    </p:spTree>
    <p:extLst>
      <p:ext uri="{BB962C8B-B14F-4D97-AF65-F5344CB8AC3E}">
        <p14:creationId xmlns:p14="http://schemas.microsoft.com/office/powerpoint/2010/main" val="201093390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64FDB926-2E3C-2141-85F9-142126F4F452}"/>
              </a:ext>
            </a:extLst>
          </p:cNvPr>
          <p:cNvSpPr>
            <a:spLocks noGrp="1"/>
          </p:cNvSpPr>
          <p:nvPr>
            <p:ph idx="1" hasCustomPrompt="1"/>
          </p:nvPr>
        </p:nvSpPr>
        <p:spPr>
          <a:xfrm>
            <a:off x="538161" y="1657350"/>
            <a:ext cx="8243886"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33708FE2-7BD9-6741-AC35-E6D6340664EA}"/>
              </a:ext>
            </a:extLst>
          </p:cNvPr>
          <p:cNvSpPr>
            <a:spLocks noGrp="1"/>
          </p:cNvSpPr>
          <p:nvPr>
            <p:ph type="body" sz="half" idx="2"/>
          </p:nvPr>
        </p:nvSpPr>
        <p:spPr>
          <a:xfrm>
            <a:off x="9000625" y="1995032"/>
            <a:ext cx="25144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C689E29B-5E72-1B47-AC15-183EF5464EE2}"/>
              </a:ext>
            </a:extLst>
          </p:cNvPr>
          <p:cNvSpPr>
            <a:spLocks noGrp="1"/>
          </p:cNvSpPr>
          <p:nvPr>
            <p:ph type="body" idx="13" hasCustomPrompt="1"/>
          </p:nvPr>
        </p:nvSpPr>
        <p:spPr>
          <a:xfrm>
            <a:off x="8989512" y="1657350"/>
            <a:ext cx="2522498"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72008864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942D8366-3A72-774E-9DAF-409CBEB5B74A}"/>
              </a:ext>
            </a:extLst>
          </p:cNvPr>
          <p:cNvSpPr>
            <a:spLocks noGrp="1"/>
          </p:cNvSpPr>
          <p:nvPr>
            <p:ph idx="1" hasCustomPrompt="1"/>
          </p:nvPr>
        </p:nvSpPr>
        <p:spPr>
          <a:xfrm>
            <a:off x="552450" y="1657350"/>
            <a:ext cx="447198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AF0A41A3-ADCC-F94C-98D5-4A734296F14B}"/>
              </a:ext>
            </a:extLst>
          </p:cNvPr>
          <p:cNvSpPr>
            <a:spLocks noGrp="1"/>
          </p:cNvSpPr>
          <p:nvPr>
            <p:ph type="body" sz="half" idx="14"/>
          </p:nvPr>
        </p:nvSpPr>
        <p:spPr>
          <a:xfrm>
            <a:off x="7172325" y="1995032"/>
            <a:ext cx="43427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3AF3FA9F-C428-6549-9B6A-202E0FD79372}"/>
              </a:ext>
            </a:extLst>
          </p:cNvPr>
          <p:cNvSpPr>
            <a:spLocks noGrp="1"/>
          </p:cNvSpPr>
          <p:nvPr>
            <p:ph type="body" idx="15" hasCustomPrompt="1"/>
          </p:nvPr>
        </p:nvSpPr>
        <p:spPr>
          <a:xfrm>
            <a:off x="7167219" y="1657350"/>
            <a:ext cx="4356629"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42622900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9" name="think-cell Slide" r:id="rId4" imgW="473" imgH="473" progId="TCLayout.ActiveDocument.1">
                  <p:embed/>
                </p:oleObj>
              </mc:Choice>
              <mc:Fallback>
                <p:oleObj name="think-cell Slide" r:id="rId4" imgW="473" imgH="47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4354513" y="1714499"/>
            <a:ext cx="7160592" cy="4400551"/>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1" name="Text Placeholder 3">
            <a:extLst>
              <a:ext uri="{FF2B5EF4-FFF2-40B4-BE49-F238E27FC236}">
                <a16:creationId xmlns:a16="http://schemas.microsoft.com/office/drawing/2014/main" id="{ED880A99-4201-3847-86F3-D77C5C2DBFFC}"/>
              </a:ext>
            </a:extLst>
          </p:cNvPr>
          <p:cNvSpPr>
            <a:spLocks noGrp="1"/>
          </p:cNvSpPr>
          <p:nvPr>
            <p:ph type="body" sz="half" idx="2"/>
          </p:nvPr>
        </p:nvSpPr>
        <p:spPr>
          <a:xfrm>
            <a:off x="554039" y="1995032"/>
            <a:ext cx="3484562"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20879568-7B89-6144-98EF-9A5090B5958B}"/>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30019181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552450" y="1714499"/>
            <a:ext cx="7289799" cy="4415846"/>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9"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73D605E1-0CFB-CE42-AD97-57E1B5B41B72}"/>
              </a:ext>
            </a:extLst>
          </p:cNvPr>
          <p:cNvSpPr>
            <a:spLocks noGrp="1"/>
          </p:cNvSpPr>
          <p:nvPr>
            <p:ph type="body" sz="half" idx="2"/>
          </p:nvPr>
        </p:nvSpPr>
        <p:spPr>
          <a:xfrm>
            <a:off x="8159750" y="1995032"/>
            <a:ext cx="3355354"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E44D688F-F5DF-2843-BB18-D4261CED213D}"/>
              </a:ext>
            </a:extLst>
          </p:cNvPr>
          <p:cNvSpPr>
            <a:spLocks noGrp="1"/>
          </p:cNvSpPr>
          <p:nvPr>
            <p:ph type="body" idx="13" hasCustomPrompt="1"/>
          </p:nvPr>
        </p:nvSpPr>
        <p:spPr>
          <a:xfrm>
            <a:off x="8148636" y="1657350"/>
            <a:ext cx="336605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8554510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7" name="think-cell Slide" r:id="rId4" imgW="473" imgH="473" progId="TCLayout.ActiveDocument.1">
                  <p:embed/>
                </p:oleObj>
              </mc:Choice>
              <mc:Fallback>
                <p:oleObj name="think-cell Slide" r:id="rId4" imgW="473" imgH="473"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1822564"/>
            <a:ext cx="11115674" cy="1247775"/>
          </a:xfrm>
          <a:noFill/>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530502" y="3900492"/>
            <a:ext cx="2584173"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33861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33880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55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6412" y="3900492"/>
            <a:ext cx="2587900"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6022695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01" name="think-cell Slide" r:id="rId4" imgW="473" imgH="473" progId="TCLayout.ActiveDocument.1">
                  <p:embed/>
                </p:oleObj>
              </mc:Choice>
              <mc:Fallback>
                <p:oleObj name="think-cell Slide" r:id="rId4" imgW="473" imgH="473"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a16="http://schemas.microsoft.com/office/drawing/2014/main" id="{1C0A461C-0294-B44F-97D5-FC39D0DC404B}"/>
              </a:ext>
            </a:extLst>
          </p:cNvPr>
          <p:cNvSpPr>
            <a:spLocks noGrp="1"/>
          </p:cNvSpPr>
          <p:nvPr>
            <p:ph type="pic" sz="quarter" idx="29"/>
          </p:nvPr>
        </p:nvSpPr>
        <p:spPr>
          <a:xfrm>
            <a:off x="0" y="0"/>
            <a:ext cx="5257800" cy="6857999"/>
          </a:xfrm>
        </p:spPr>
        <p:txBody>
          <a:bodyPr/>
          <a:lstStyle/>
          <a:p>
            <a:endParaRPr lang="en-US" dirty="0"/>
          </a:p>
          <a:p>
            <a:endParaRPr lang="en-US" dirty="0"/>
          </a:p>
          <a:p>
            <a:endParaRPr lang="en-US" dirty="0"/>
          </a:p>
          <a:p>
            <a:endParaRPr lang="en-US" dirty="0"/>
          </a:p>
          <a:p>
            <a:endParaRPr lang="en-US" dirty="0"/>
          </a:p>
          <a:p>
            <a:endParaRPr lang="en-US" dirty="0"/>
          </a:p>
          <a:p>
            <a:endParaRPr lang="en-US" dirty="0"/>
          </a:p>
        </p:txBody>
      </p:sp>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6213821" y="1000076"/>
            <a:ext cx="5443537" cy="1491404"/>
          </a:xfrm>
          <a:noFill/>
        </p:spPr>
        <p:txBody>
          <a:bodyPr anchor="t">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6243638" y="219145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6243638" y="2491480"/>
            <a:ext cx="2586037"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9101139" y="2191451"/>
            <a:ext cx="2543174"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9101139" y="2491480"/>
            <a:ext cx="2543174"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3638"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8276"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Tree>
    <p:extLst>
      <p:ext uri="{BB962C8B-B14F-4D97-AF65-F5344CB8AC3E}">
        <p14:creationId xmlns:p14="http://schemas.microsoft.com/office/powerpoint/2010/main" val="83405541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2">
            <a:extLst>
              <a:ext uri="{FF2B5EF4-FFF2-40B4-BE49-F238E27FC236}">
                <a16:creationId xmlns:a16="http://schemas.microsoft.com/office/drawing/2014/main" id="{A3994FF5-75CA-D542-AE8A-FF290128AD76}"/>
              </a:ext>
            </a:extLst>
          </p:cNvPr>
          <p:cNvSpPr>
            <a:spLocks noGrp="1"/>
          </p:cNvSpPr>
          <p:nvPr>
            <p:ph type="body" idx="15" hasCustomPrompt="1"/>
          </p:nvPr>
        </p:nvSpPr>
        <p:spPr>
          <a:xfrm>
            <a:off x="43576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3" name="Text Placeholder 12">
            <a:extLst>
              <a:ext uri="{FF2B5EF4-FFF2-40B4-BE49-F238E27FC236}">
                <a16:creationId xmlns:a16="http://schemas.microsoft.com/office/drawing/2014/main" id="{807A35C6-3861-BC41-830C-3E0AA8405654}"/>
              </a:ext>
            </a:extLst>
          </p:cNvPr>
          <p:cNvSpPr>
            <a:spLocks noGrp="1"/>
          </p:cNvSpPr>
          <p:nvPr>
            <p:ph type="body" sz="quarter" idx="17"/>
          </p:nvPr>
        </p:nvSpPr>
        <p:spPr>
          <a:xfrm>
            <a:off x="435768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4" name="Text Placeholder 12">
            <a:extLst>
              <a:ext uri="{FF2B5EF4-FFF2-40B4-BE49-F238E27FC236}">
                <a16:creationId xmlns:a16="http://schemas.microsoft.com/office/drawing/2014/main" id="{94ECD9F0-E726-484A-BAE6-AEAA3F1F9707}"/>
              </a:ext>
            </a:extLst>
          </p:cNvPr>
          <p:cNvSpPr>
            <a:spLocks noGrp="1"/>
          </p:cNvSpPr>
          <p:nvPr>
            <p:ph type="body" sz="quarter" idx="18"/>
          </p:nvPr>
        </p:nvSpPr>
        <p:spPr>
          <a:xfrm>
            <a:off x="52863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5"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9"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09399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1A143651-3799-F24B-AEFE-AAAD1187C7AF}"/>
              </a:ext>
            </a:extLst>
          </p:cNvPr>
          <p:cNvSpPr>
            <a:spLocks noGrp="1"/>
          </p:cNvSpPr>
          <p:nvPr>
            <p:ph idx="1" hasCustomPrompt="1"/>
          </p:nvPr>
        </p:nvSpPr>
        <p:spPr>
          <a:xfrm>
            <a:off x="538161" y="1657350"/>
            <a:ext cx="540544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a:extLst>
              <a:ext uri="{FF2B5EF4-FFF2-40B4-BE49-F238E27FC236}">
                <a16:creationId xmlns:a16="http://schemas.microsoft.com/office/drawing/2014/main" id="{3C0C7668-8CC7-CF4A-8570-FDE604593FB0}"/>
              </a:ext>
            </a:extLst>
          </p:cNvPr>
          <p:cNvSpPr>
            <a:spLocks noGrp="1"/>
          </p:cNvSpPr>
          <p:nvPr>
            <p:ph idx="13" hasCustomPrompt="1"/>
          </p:nvPr>
        </p:nvSpPr>
        <p:spPr>
          <a:xfrm>
            <a:off x="6226267" y="1657350"/>
            <a:ext cx="528883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a:extLst>
              <a:ext uri="{FF2B5EF4-FFF2-40B4-BE49-F238E27FC236}">
                <a16:creationId xmlns:a16="http://schemas.microsoft.com/office/drawing/2014/main" id="{274FB544-0753-1E4B-A414-CB8CEF8925D1}"/>
              </a:ext>
            </a:extLst>
          </p:cNvPr>
          <p:cNvSpPr>
            <a:spLocks noGrp="1"/>
          </p:cNvSpPr>
          <p:nvPr>
            <p:ph type="title"/>
          </p:nvPr>
        </p:nvSpPr>
        <p:spPr>
          <a:xfrm>
            <a:off x="508760" y="550861"/>
            <a:ext cx="11006344" cy="835027"/>
          </a:xfrm>
        </p:spPr>
        <p:txBody>
          <a:bodyPr>
            <a:normAutofit/>
          </a:bodyPr>
          <a:lstStyle>
            <a:lvl1pPr>
              <a:defRPr sz="2800"/>
            </a:lvl1pPr>
          </a:lstStyle>
          <a:p>
            <a:r>
              <a:rPr lang="en-US" dirty="0"/>
              <a:t>Click to edit Master title style</a:t>
            </a:r>
          </a:p>
        </p:txBody>
      </p:sp>
      <p:cxnSp>
        <p:nvCxnSpPr>
          <p:cNvPr id="16" name="Straight Connector 15">
            <a:extLst>
              <a:ext uri="{FF2B5EF4-FFF2-40B4-BE49-F238E27FC236}">
                <a16:creationId xmlns:a16="http://schemas.microsoft.com/office/drawing/2014/main" id="{BF354029-E75E-6F47-88D0-33B7164E6319}"/>
              </a:ext>
            </a:extLst>
          </p:cNvPr>
          <p:cNvCxnSpPr/>
          <p:nvPr userDrawn="1"/>
        </p:nvCxnSpPr>
        <p:spPr>
          <a:xfrm>
            <a:off x="616226" y="1282149"/>
            <a:ext cx="1089887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72846704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A9B164-9C2C-4D48-8696-9484E8FF7626}"/>
              </a:ext>
            </a:extLst>
          </p:cNvPr>
          <p:cNvSpPr>
            <a:spLocks noGrp="1"/>
          </p:cNvSpPr>
          <p:nvPr>
            <p:ph type="body" idx="1" hasCustomPrompt="1"/>
          </p:nvPr>
        </p:nvSpPr>
        <p:spPr>
          <a:xfrm>
            <a:off x="542925" y="1681171"/>
            <a:ext cx="540067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Text Placeholder 4">
            <a:extLst>
              <a:ext uri="{FF2B5EF4-FFF2-40B4-BE49-F238E27FC236}">
                <a16:creationId xmlns:a16="http://schemas.microsoft.com/office/drawing/2014/main" id="{9A45142E-614C-1941-A4E8-E24EA5A0D501}"/>
              </a:ext>
            </a:extLst>
          </p:cNvPr>
          <p:cNvSpPr>
            <a:spLocks noGrp="1"/>
          </p:cNvSpPr>
          <p:nvPr>
            <p:ph type="body" sz="quarter" idx="3" hasCustomPrompt="1"/>
          </p:nvPr>
        </p:nvSpPr>
        <p:spPr>
          <a:xfrm>
            <a:off x="6226267" y="1681171"/>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5" name="Content Placeholder 2">
            <a:extLst>
              <a:ext uri="{FF2B5EF4-FFF2-40B4-BE49-F238E27FC236}">
                <a16:creationId xmlns:a16="http://schemas.microsoft.com/office/drawing/2014/main" id="{A76002A2-2BEE-E84D-91F0-54ED39ABA3CA}"/>
              </a:ext>
            </a:extLst>
          </p:cNvPr>
          <p:cNvSpPr>
            <a:spLocks noGrp="1"/>
          </p:cNvSpPr>
          <p:nvPr>
            <p:ph idx="13"/>
          </p:nvPr>
        </p:nvSpPr>
        <p:spPr>
          <a:xfrm>
            <a:off x="538161" y="1986374"/>
            <a:ext cx="5405440"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a:extLst>
              <a:ext uri="{FF2B5EF4-FFF2-40B4-BE49-F238E27FC236}">
                <a16:creationId xmlns:a16="http://schemas.microsoft.com/office/drawing/2014/main" id="{E3047B5C-8C66-DD49-8353-D9A1331573E0}"/>
              </a:ext>
            </a:extLst>
          </p:cNvPr>
          <p:cNvSpPr>
            <a:spLocks noGrp="1"/>
          </p:cNvSpPr>
          <p:nvPr>
            <p:ph idx="14"/>
          </p:nvPr>
        </p:nvSpPr>
        <p:spPr>
          <a:xfrm>
            <a:off x="6226267" y="1986374"/>
            <a:ext cx="5288837"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itle 1">
            <a:extLst>
              <a:ext uri="{FF2B5EF4-FFF2-40B4-BE49-F238E27FC236}">
                <a16:creationId xmlns:a16="http://schemas.microsoft.com/office/drawing/2014/main" id="{274FB544-0753-1E4B-A414-CB8CEF8925D1}"/>
              </a:ext>
            </a:extLst>
          </p:cNvPr>
          <p:cNvSpPr>
            <a:spLocks noGrp="1"/>
          </p:cNvSpPr>
          <p:nvPr>
            <p:ph type="title"/>
          </p:nvPr>
        </p:nvSpPr>
        <p:spPr>
          <a:xfrm>
            <a:off x="528638" y="442013"/>
            <a:ext cx="5434841" cy="730804"/>
          </a:xfrm>
        </p:spPr>
        <p:txBody>
          <a:bodyPr anchor="b">
            <a:normAutofit/>
          </a:bodyPr>
          <a:lstStyle>
            <a:lvl1pPr>
              <a:defRPr sz="2000"/>
            </a:lvl1pPr>
          </a:lstStyle>
          <a:p>
            <a:r>
              <a:rPr lang="en-US" dirty="0"/>
              <a:t>Click to edit Master title style</a:t>
            </a:r>
          </a:p>
        </p:txBody>
      </p:sp>
      <p:cxnSp>
        <p:nvCxnSpPr>
          <p:cNvPr id="20" name="Straight Connector 19">
            <a:extLst>
              <a:ext uri="{FF2B5EF4-FFF2-40B4-BE49-F238E27FC236}">
                <a16:creationId xmlns:a16="http://schemas.microsoft.com/office/drawing/2014/main"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F354029-E75E-6F47-88D0-33B7164E6319}"/>
              </a:ext>
            </a:extLst>
          </p:cNvPr>
          <p:cNvCxnSpPr/>
          <p:nvPr userDrawn="1"/>
        </p:nvCxnSpPr>
        <p:spPr>
          <a:xfrm flipV="1">
            <a:off x="620699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itle style</a:t>
            </a:r>
          </a:p>
        </p:txBody>
      </p: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2368213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00676" cy="10858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1085850"/>
          </a:xfrm>
        </p:spPr>
        <p:txBody>
          <a:bodyPr/>
          <a:lstStyle/>
          <a:p>
            <a:endParaRPr lang="en-US" dirty="0"/>
          </a:p>
        </p:txBody>
      </p:sp>
      <p:sp>
        <p:nvSpPr>
          <p:cNvPr id="15" name="Text Placeholder 2">
            <a:extLst>
              <a:ext uri="{FF2B5EF4-FFF2-40B4-BE49-F238E27FC236}">
                <a16:creationId xmlns:a16="http://schemas.microsoft.com/office/drawing/2014/main" id="{CBBDF55F-90F0-1C41-908C-56A922379254}"/>
              </a:ext>
            </a:extLst>
          </p:cNvPr>
          <p:cNvSpPr>
            <a:spLocks noGrp="1"/>
          </p:cNvSpPr>
          <p:nvPr>
            <p:ph type="body" idx="1" hasCustomPrompt="1"/>
          </p:nvPr>
        </p:nvSpPr>
        <p:spPr>
          <a:xfrm>
            <a:off x="542925" y="2878599"/>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Text Placeholder 4">
            <a:extLst>
              <a:ext uri="{FF2B5EF4-FFF2-40B4-BE49-F238E27FC236}">
                <a16:creationId xmlns:a16="http://schemas.microsoft.com/office/drawing/2014/main" id="{2EA49D96-8068-0E46-8E04-581AD2DEEBF8}"/>
              </a:ext>
            </a:extLst>
          </p:cNvPr>
          <p:cNvSpPr>
            <a:spLocks noGrp="1"/>
          </p:cNvSpPr>
          <p:nvPr>
            <p:ph type="body" sz="quarter" idx="3" hasCustomPrompt="1"/>
          </p:nvPr>
        </p:nvSpPr>
        <p:spPr>
          <a:xfrm>
            <a:off x="6229352" y="2878599"/>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37DEAE7C-B91C-3A45-9797-1CA40EEE86FC}"/>
              </a:ext>
            </a:extLst>
          </p:cNvPr>
          <p:cNvSpPr>
            <a:spLocks noGrp="1"/>
          </p:cNvSpPr>
          <p:nvPr>
            <p:ph idx="15"/>
          </p:nvPr>
        </p:nvSpPr>
        <p:spPr>
          <a:xfrm>
            <a:off x="538161" y="3194688"/>
            <a:ext cx="5405440"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2">
            <a:extLst>
              <a:ext uri="{FF2B5EF4-FFF2-40B4-BE49-F238E27FC236}">
                <a16:creationId xmlns:a16="http://schemas.microsoft.com/office/drawing/2014/main" id="{ACBF5F4D-C8DF-6B40-9757-7862B3F3D013}"/>
              </a:ext>
            </a:extLst>
          </p:cNvPr>
          <p:cNvSpPr>
            <a:spLocks noGrp="1"/>
          </p:cNvSpPr>
          <p:nvPr>
            <p:ph idx="16"/>
          </p:nvPr>
        </p:nvSpPr>
        <p:spPr>
          <a:xfrm>
            <a:off x="6226267" y="3194688"/>
            <a:ext cx="528883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3" name="Straight Connector 22">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8782289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3495675" cy="10858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4329113" y="1606538"/>
            <a:ext cx="3529012" cy="1085850"/>
          </a:xfrm>
        </p:spPr>
        <p:txBody>
          <a:bodyPr/>
          <a:lstStyle/>
          <a:p>
            <a:endParaRPr lang="en-US" dirty="0"/>
          </a:p>
        </p:txBody>
      </p:sp>
      <p:sp>
        <p:nvSpPr>
          <p:cNvPr id="14" name="Picture Placeholder 6">
            <a:extLst>
              <a:ext uri="{FF2B5EF4-FFF2-40B4-BE49-F238E27FC236}">
                <a16:creationId xmlns:a16="http://schemas.microsoft.com/office/drawing/2014/main" id="{30BC5AE0-0A2C-0A47-AED3-72F396E00B93}"/>
              </a:ext>
            </a:extLst>
          </p:cNvPr>
          <p:cNvSpPr>
            <a:spLocks noGrp="1"/>
          </p:cNvSpPr>
          <p:nvPr>
            <p:ph type="pic" sz="quarter" idx="17"/>
          </p:nvPr>
        </p:nvSpPr>
        <p:spPr>
          <a:xfrm>
            <a:off x="8115301" y="1606538"/>
            <a:ext cx="3430302" cy="1085850"/>
          </a:xfrm>
        </p:spPr>
        <p:txBody>
          <a:bodyPr/>
          <a:lstStyle/>
          <a:p>
            <a:endParaRPr lang="en-US" dirty="0"/>
          </a:p>
        </p:txBody>
      </p:sp>
      <p:sp>
        <p:nvSpPr>
          <p:cNvPr id="15" name="Text Placeholder 2">
            <a:extLst>
              <a:ext uri="{FF2B5EF4-FFF2-40B4-BE49-F238E27FC236}">
                <a16:creationId xmlns:a16="http://schemas.microsoft.com/office/drawing/2014/main" id="{A9B8C281-38F9-7B4F-9053-E5183E02C72C}"/>
              </a:ext>
            </a:extLst>
          </p:cNvPr>
          <p:cNvSpPr>
            <a:spLocks noGrp="1"/>
          </p:cNvSpPr>
          <p:nvPr>
            <p:ph type="body" idx="19" hasCustomPrompt="1"/>
          </p:nvPr>
        </p:nvSpPr>
        <p:spPr>
          <a:xfrm>
            <a:off x="4329113"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18917B6-ED6E-5247-A016-E8EB5828083B}"/>
              </a:ext>
            </a:extLst>
          </p:cNvPr>
          <p:cNvSpPr>
            <a:spLocks noGrp="1"/>
          </p:cNvSpPr>
          <p:nvPr>
            <p:ph idx="15"/>
          </p:nvPr>
        </p:nvSpPr>
        <p:spPr>
          <a:xfrm>
            <a:off x="4324349"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E23316C5-42E3-A546-BFAD-685CA83063A4}"/>
              </a:ext>
            </a:extLst>
          </p:cNvPr>
          <p:cNvSpPr>
            <a:spLocks noGrp="1"/>
          </p:cNvSpPr>
          <p:nvPr>
            <p:ph type="body" idx="20" hasCustomPrompt="1"/>
          </p:nvPr>
        </p:nvSpPr>
        <p:spPr>
          <a:xfrm>
            <a:off x="529998"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7736DC52-B567-4A40-86E6-A926C985A3C3}"/>
              </a:ext>
            </a:extLst>
          </p:cNvPr>
          <p:cNvSpPr>
            <a:spLocks noGrp="1"/>
          </p:cNvSpPr>
          <p:nvPr>
            <p:ph idx="21"/>
          </p:nvPr>
        </p:nvSpPr>
        <p:spPr>
          <a:xfrm>
            <a:off x="525234"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9E92BD2B-6F22-EA49-83E7-283C14BE4AA6}"/>
              </a:ext>
            </a:extLst>
          </p:cNvPr>
          <p:cNvSpPr>
            <a:spLocks noGrp="1"/>
          </p:cNvSpPr>
          <p:nvPr>
            <p:ph type="body" idx="22" hasCustomPrompt="1"/>
          </p:nvPr>
        </p:nvSpPr>
        <p:spPr>
          <a:xfrm>
            <a:off x="8117341" y="2878599"/>
            <a:ext cx="339776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47E32C1-C9CF-044C-AA5E-2ED6C83D1E1F}"/>
              </a:ext>
            </a:extLst>
          </p:cNvPr>
          <p:cNvSpPr>
            <a:spLocks noGrp="1"/>
          </p:cNvSpPr>
          <p:nvPr>
            <p:ph idx="23"/>
          </p:nvPr>
        </p:nvSpPr>
        <p:spPr>
          <a:xfrm>
            <a:off x="8112577" y="3194688"/>
            <a:ext cx="340252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8" name="Straight Connector 2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86849874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32" Type="http://schemas.openxmlformats.org/officeDocument/2006/relationships/image" Target="../media/image4.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3.jpe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 Id="rId30"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6"/>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9" name="think-cell Slide" r:id="rId27" imgW="473" imgH="473" progId="TCLayout.ActiveDocument.1">
                  <p:embed/>
                </p:oleObj>
              </mc:Choice>
              <mc:Fallback>
                <p:oleObj name="think-cell Slide" r:id="rId27" imgW="473" imgH="473" progId="TCLayout.ActiveDocument.1">
                  <p:embed/>
                  <p:pic>
                    <p:nvPicPr>
                      <p:cNvPr id="4" name="Object 3" hidden="1"/>
                      <p:cNvPicPr/>
                      <p:nvPr/>
                    </p:nvPicPr>
                    <p:blipFill>
                      <a:blip r:embed="rId28"/>
                      <a:stretch>
                        <a:fillRect/>
                      </a:stretch>
                    </p:blipFill>
                    <p:spPr>
                      <a:xfrm>
                        <a:off x="1588" y="1588"/>
                        <a:ext cx="1587" cy="1587"/>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6CD8F89-9FB8-7B4E-9786-63C07B8CCA0A}"/>
              </a:ext>
            </a:extLst>
          </p:cNvPr>
          <p:cNvSpPr>
            <a:spLocks noGrp="1"/>
          </p:cNvSpPr>
          <p:nvPr>
            <p:ph type="title"/>
          </p:nvPr>
        </p:nvSpPr>
        <p:spPr>
          <a:xfrm>
            <a:off x="552450" y="550861"/>
            <a:ext cx="11091862" cy="835027"/>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E21D4ACC-A397-1E47-B656-2FC4113DC455}"/>
              </a:ext>
            </a:extLst>
          </p:cNvPr>
          <p:cNvSpPr>
            <a:spLocks noGrp="1"/>
          </p:cNvSpPr>
          <p:nvPr>
            <p:ph type="body" idx="1"/>
          </p:nvPr>
        </p:nvSpPr>
        <p:spPr>
          <a:xfrm>
            <a:off x="552449" y="1657350"/>
            <a:ext cx="11091863" cy="44577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descr="Image result for canada wordmark">
            <a:hlinkClick r:id="rId29"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userDrawn="1"/>
        </p:nvPicPr>
        <p:blipFill>
          <a:blip r:embed="rId30" cstate="print">
            <a:extLst>
              <a:ext uri="{28A0092B-C50C-407E-A947-70E740481C1C}">
                <a14:useLocalDpi xmlns:a14="http://schemas.microsoft.com/office/drawing/2010/main" val="0"/>
              </a:ext>
            </a:extLst>
          </a:blip>
          <a:srcRect/>
          <a:stretch>
            <a:fillRect/>
          </a:stretch>
        </p:blipFill>
        <p:spPr bwMode="auto">
          <a:xfrm>
            <a:off x="10758920" y="6396193"/>
            <a:ext cx="885392" cy="229331"/>
          </a:xfrm>
          <a:prstGeom prst="rect">
            <a:avLst/>
          </a:prstGeom>
          <a:noFill/>
          <a:ln>
            <a:noFill/>
          </a:ln>
        </p:spPr>
      </p:pic>
      <p:pic>
        <p:nvPicPr>
          <p:cNvPr id="8" name="Picture 7">
            <a:extLst>
              <a:ext uri="{FF2B5EF4-FFF2-40B4-BE49-F238E27FC236}">
                <a16:creationId xmlns:a16="http://schemas.microsoft.com/office/drawing/2014/main" id="{89CA9733-78EF-5F49-81C1-064DE89D5260}"/>
              </a:ext>
            </a:extLst>
          </p:cNvPr>
          <p:cNvPicPr>
            <a:picLocks noChangeAspect="1"/>
          </p:cNvPicPr>
          <p:nvPr userDrawn="1"/>
        </p:nvPicPr>
        <p:blipFill>
          <a:blip r:embed="rId31" cstate="print">
            <a:extLst>
              <a:ext uri="{28A0092B-C50C-407E-A947-70E740481C1C}">
                <a14:useLocalDpi xmlns:a14="http://schemas.microsoft.com/office/drawing/2010/main" val="0"/>
              </a:ext>
            </a:extLst>
          </a:blip>
          <a:stretch>
            <a:fillRect/>
          </a:stretch>
        </p:blipFill>
        <p:spPr>
          <a:xfrm>
            <a:off x="552450" y="6374859"/>
            <a:ext cx="2036645" cy="250665"/>
          </a:xfrm>
          <a:prstGeom prst="rect">
            <a:avLst/>
          </a:prstGeom>
        </p:spPr>
      </p:pic>
      <p:pic>
        <p:nvPicPr>
          <p:cNvPr id="12" name="Picture 11"/>
          <p:cNvPicPr>
            <a:picLocks noChangeAspect="1"/>
          </p:cNvPicPr>
          <p:nvPr userDrawn="1"/>
        </p:nvPicPr>
        <p:blipFill>
          <a:blip r:embed="rId32">
            <a:extLst>
              <a:ext uri="{28A0092B-C50C-407E-A947-70E740481C1C}">
                <a14:useLocalDpi xmlns:a14="http://schemas.microsoft.com/office/drawing/2010/main" val="0"/>
              </a:ext>
            </a:extLst>
          </a:blip>
          <a:srcRect/>
          <a:stretch/>
        </p:blipFill>
        <p:spPr>
          <a:xfrm>
            <a:off x="10179685" y="206942"/>
            <a:ext cx="1753667" cy="343919"/>
          </a:xfrm>
          <a:prstGeom prst="rect">
            <a:avLst/>
          </a:prstGeom>
        </p:spPr>
      </p:pic>
    </p:spTree>
    <p:extLst>
      <p:ext uri="{BB962C8B-B14F-4D97-AF65-F5344CB8AC3E}">
        <p14:creationId xmlns:p14="http://schemas.microsoft.com/office/powerpoint/2010/main" val="792885655"/>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8" r:id="rId13"/>
    <p:sldLayoutId id="2147483689" r:id="rId14"/>
    <p:sldLayoutId id="2147483690" r:id="rId15"/>
    <p:sldLayoutId id="2147483691" r:id="rId16"/>
    <p:sldLayoutId id="2147483692" r:id="rId17"/>
    <p:sldLayoutId id="2147483693" r:id="rId18"/>
    <p:sldLayoutId id="2147483694" r:id="rId19"/>
    <p:sldLayoutId id="2147483695" r:id="rId20"/>
    <p:sldLayoutId id="2147483696" r:id="rId21"/>
    <p:sldLayoutId id="2147483697" r:id="rId22"/>
    <p:sldLayoutId id="2147483698" r:id="rId23"/>
  </p:sldLayoutIdLst>
  <p:hf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tags" Target="../tags/tag14.xml"/><Relationship Id="rId13" Type="http://schemas.openxmlformats.org/officeDocument/2006/relationships/notesSlide" Target="../notesSlides/notesSlide1.xml"/><Relationship Id="rId18"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3" Type="http://schemas.openxmlformats.org/officeDocument/2006/relationships/tags" Target="../tags/tag9.xml"/><Relationship Id="rId7" Type="http://schemas.openxmlformats.org/officeDocument/2006/relationships/tags" Target="../tags/tag13.xml"/><Relationship Id="rId12" Type="http://schemas.openxmlformats.org/officeDocument/2006/relationships/slideLayout" Target="../slideLayouts/slideLayout1.xml"/><Relationship Id="rId17" Type="http://schemas.openxmlformats.org/officeDocument/2006/relationships/image" Target="../media/image6.png"/><Relationship Id="rId2" Type="http://schemas.openxmlformats.org/officeDocument/2006/relationships/tags" Target="../tags/tag8.xml"/><Relationship Id="rId16" Type="http://schemas.openxmlformats.org/officeDocument/2006/relationships/image" Target="../media/image1.emf"/><Relationship Id="rId20" Type="http://schemas.openxmlformats.org/officeDocument/2006/relationships/image" Target="../media/image3.jpeg"/><Relationship Id="rId1" Type="http://schemas.openxmlformats.org/officeDocument/2006/relationships/vmlDrawing" Target="../drawings/vmlDrawing7.vml"/><Relationship Id="rId6" Type="http://schemas.openxmlformats.org/officeDocument/2006/relationships/tags" Target="../tags/tag12.xml"/><Relationship Id="rId11" Type="http://schemas.openxmlformats.org/officeDocument/2006/relationships/tags" Target="../tags/tag17.xml"/><Relationship Id="rId5" Type="http://schemas.openxmlformats.org/officeDocument/2006/relationships/tags" Target="../tags/tag11.xml"/><Relationship Id="rId15" Type="http://schemas.openxmlformats.org/officeDocument/2006/relationships/oleObject" Target="../embeddings/oleObject7.bin"/><Relationship Id="rId10" Type="http://schemas.openxmlformats.org/officeDocument/2006/relationships/tags" Target="../tags/tag16.xml"/><Relationship Id="rId19" Type="http://schemas.openxmlformats.org/officeDocument/2006/relationships/image" Target="../media/image2.png"/><Relationship Id="rId4" Type="http://schemas.openxmlformats.org/officeDocument/2006/relationships/tags" Target="../tags/tag10.xml"/><Relationship Id="rId9" Type="http://schemas.openxmlformats.org/officeDocument/2006/relationships/tags" Target="../tags/tag15.xml"/><Relationship Id="rId14" Type="http://schemas.openxmlformats.org/officeDocument/2006/relationships/image" Target="../media/image5.jpg"/></Relationships>
</file>

<file path=ppt/slides/_rels/slide2.xml.rels><?xml version="1.0" encoding="UTF-8" standalone="yes"?>
<Relationships xmlns="http://schemas.openxmlformats.org/package/2006/relationships"><Relationship Id="rId8" Type="http://schemas.openxmlformats.org/officeDocument/2006/relationships/slide" Target="slide7.xml"/><Relationship Id="rId3" Type="http://schemas.openxmlformats.org/officeDocument/2006/relationships/slideLayout" Target="../slideLayouts/slideLayout22.xml"/><Relationship Id="rId7" Type="http://schemas.openxmlformats.org/officeDocument/2006/relationships/slide" Target="slide6.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slide" Target="slide5.xml"/><Relationship Id="rId5" Type="http://schemas.openxmlformats.org/officeDocument/2006/relationships/slide" Target="slide4.xml"/><Relationship Id="rId10" Type="http://schemas.openxmlformats.org/officeDocument/2006/relationships/hyperlink" Target="https://wiki.gccollab.ca/images/f/fa/WTP_-_Establishing_a_Change_Agent_Network_EN.pptx" TargetMode="External"/><Relationship Id="rId4" Type="http://schemas.openxmlformats.org/officeDocument/2006/relationships/slide" Target="slide3.xml"/><Relationship Id="rId9" Type="http://schemas.openxmlformats.org/officeDocument/2006/relationships/slide" Target="slide8.xml"/></Relationships>
</file>

<file path=ppt/slides/_rels/slide3.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8" Type="http://schemas.openxmlformats.org/officeDocument/2006/relationships/tags" Target="../tags/tag30.xml"/><Relationship Id="rId3" Type="http://schemas.openxmlformats.org/officeDocument/2006/relationships/tags" Target="../tags/tag25.xml"/><Relationship Id="rId7" Type="http://schemas.openxmlformats.org/officeDocument/2006/relationships/tags" Target="../tags/tag29.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tags" Target="../tags/tag28.xml"/><Relationship Id="rId11" Type="http://schemas.openxmlformats.org/officeDocument/2006/relationships/slideLayout" Target="../slideLayouts/slideLayout14.xml"/><Relationship Id="rId5" Type="http://schemas.openxmlformats.org/officeDocument/2006/relationships/tags" Target="../tags/tag27.xml"/><Relationship Id="rId10" Type="http://schemas.openxmlformats.org/officeDocument/2006/relationships/tags" Target="../tags/tag32.xml"/><Relationship Id="rId4" Type="http://schemas.openxmlformats.org/officeDocument/2006/relationships/tags" Target="../tags/tag26.xml"/><Relationship Id="rId9" Type="http://schemas.openxmlformats.org/officeDocument/2006/relationships/tags" Target="../tags/tag31.xml"/></Relationships>
</file>

<file path=ppt/slides/_rels/slide5.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tags" Target="../tags/tag35.xml"/><Relationship Id="rId7" Type="http://schemas.openxmlformats.org/officeDocument/2006/relationships/image" Target="../media/image11.png"/><Relationship Id="rId12" Type="http://schemas.openxmlformats.org/officeDocument/2006/relationships/image" Target="../media/image16.svg"/><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10.svg"/><Relationship Id="rId11" Type="http://schemas.openxmlformats.org/officeDocument/2006/relationships/image" Target="../media/image15.png"/><Relationship Id="rId5" Type="http://schemas.openxmlformats.org/officeDocument/2006/relationships/image" Target="../media/image9.png"/><Relationship Id="rId10" Type="http://schemas.openxmlformats.org/officeDocument/2006/relationships/image" Target="../media/image14.svg"/><Relationship Id="rId4" Type="http://schemas.openxmlformats.org/officeDocument/2006/relationships/slideLayout" Target="../slideLayouts/slideLayout14.xml"/><Relationship Id="rId9" Type="http://schemas.openxmlformats.org/officeDocument/2006/relationships/image" Target="../media/image13.png"/></Relationships>
</file>

<file path=ppt/slides/_rels/slide6.xml.rels><?xml version="1.0" encoding="UTF-8" standalone="yes"?>
<Relationships xmlns="http://schemas.openxmlformats.org/package/2006/relationships"><Relationship Id="rId8" Type="http://schemas.openxmlformats.org/officeDocument/2006/relationships/tags" Target="../tags/tag43.xml"/><Relationship Id="rId13" Type="http://schemas.openxmlformats.org/officeDocument/2006/relationships/tags" Target="../tags/tag48.xml"/><Relationship Id="rId18" Type="http://schemas.openxmlformats.org/officeDocument/2006/relationships/tags" Target="../tags/tag53.xml"/><Relationship Id="rId3" Type="http://schemas.openxmlformats.org/officeDocument/2006/relationships/tags" Target="../tags/tag38.xml"/><Relationship Id="rId21" Type="http://schemas.openxmlformats.org/officeDocument/2006/relationships/tags" Target="../tags/tag56.xml"/><Relationship Id="rId7" Type="http://schemas.openxmlformats.org/officeDocument/2006/relationships/tags" Target="../tags/tag42.xml"/><Relationship Id="rId12" Type="http://schemas.openxmlformats.org/officeDocument/2006/relationships/tags" Target="../tags/tag47.xml"/><Relationship Id="rId17" Type="http://schemas.openxmlformats.org/officeDocument/2006/relationships/tags" Target="../tags/tag52.xml"/><Relationship Id="rId25" Type="http://schemas.openxmlformats.org/officeDocument/2006/relationships/slideLayout" Target="../slideLayouts/slideLayout14.xml"/><Relationship Id="rId2" Type="http://schemas.openxmlformats.org/officeDocument/2006/relationships/tags" Target="../tags/tag37.xml"/><Relationship Id="rId16" Type="http://schemas.openxmlformats.org/officeDocument/2006/relationships/tags" Target="../tags/tag51.xml"/><Relationship Id="rId20" Type="http://schemas.openxmlformats.org/officeDocument/2006/relationships/tags" Target="../tags/tag55.xml"/><Relationship Id="rId1" Type="http://schemas.openxmlformats.org/officeDocument/2006/relationships/tags" Target="../tags/tag36.xml"/><Relationship Id="rId6" Type="http://schemas.openxmlformats.org/officeDocument/2006/relationships/tags" Target="../tags/tag41.xml"/><Relationship Id="rId11" Type="http://schemas.openxmlformats.org/officeDocument/2006/relationships/tags" Target="../tags/tag46.xml"/><Relationship Id="rId24" Type="http://schemas.openxmlformats.org/officeDocument/2006/relationships/tags" Target="../tags/tag59.xml"/><Relationship Id="rId5" Type="http://schemas.openxmlformats.org/officeDocument/2006/relationships/tags" Target="../tags/tag40.xml"/><Relationship Id="rId15" Type="http://schemas.openxmlformats.org/officeDocument/2006/relationships/tags" Target="../tags/tag50.xml"/><Relationship Id="rId23" Type="http://schemas.openxmlformats.org/officeDocument/2006/relationships/tags" Target="../tags/tag58.xml"/><Relationship Id="rId10" Type="http://schemas.openxmlformats.org/officeDocument/2006/relationships/tags" Target="../tags/tag45.xml"/><Relationship Id="rId19" Type="http://schemas.openxmlformats.org/officeDocument/2006/relationships/tags" Target="../tags/tag54.xml"/><Relationship Id="rId4" Type="http://schemas.openxmlformats.org/officeDocument/2006/relationships/tags" Target="../tags/tag39.xml"/><Relationship Id="rId9" Type="http://schemas.openxmlformats.org/officeDocument/2006/relationships/tags" Target="../tags/tag44.xml"/><Relationship Id="rId14" Type="http://schemas.openxmlformats.org/officeDocument/2006/relationships/tags" Target="../tags/tag49.xml"/><Relationship Id="rId22" Type="http://schemas.openxmlformats.org/officeDocument/2006/relationships/tags" Target="../tags/tag57.xml"/></Relationships>
</file>

<file path=ppt/slides/_rels/slide7.xml.rels><?xml version="1.0" encoding="UTF-8" standalone="yes"?>
<Relationships xmlns="http://schemas.openxmlformats.org/package/2006/relationships"><Relationship Id="rId3" Type="http://schemas.openxmlformats.org/officeDocument/2006/relationships/tags" Target="../tags/tag62.xml"/><Relationship Id="rId7" Type="http://schemas.openxmlformats.org/officeDocument/2006/relationships/slideLayout" Target="../slideLayouts/slideLayout14.xml"/><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tags" Target="../tags/tag65.xml"/><Relationship Id="rId5" Type="http://schemas.openxmlformats.org/officeDocument/2006/relationships/tags" Target="../tags/tag64.xml"/><Relationship Id="rId4" Type="http://schemas.openxmlformats.org/officeDocument/2006/relationships/tags" Target="../tags/tag63.xml"/></Relationships>
</file>

<file path=ppt/slides/_rels/slide8.xml.rels><?xml version="1.0" encoding="UTF-8" standalone="yes"?>
<Relationships xmlns="http://schemas.openxmlformats.org/package/2006/relationships"><Relationship Id="rId8" Type="http://schemas.openxmlformats.org/officeDocument/2006/relationships/tags" Target="../tags/tag73.xml"/><Relationship Id="rId13" Type="http://schemas.openxmlformats.org/officeDocument/2006/relationships/slideLayout" Target="../slideLayouts/slideLayout14.xml"/><Relationship Id="rId3" Type="http://schemas.openxmlformats.org/officeDocument/2006/relationships/tags" Target="../tags/tag68.xml"/><Relationship Id="rId7" Type="http://schemas.openxmlformats.org/officeDocument/2006/relationships/tags" Target="../tags/tag72.xml"/><Relationship Id="rId12" Type="http://schemas.openxmlformats.org/officeDocument/2006/relationships/tags" Target="../tags/tag77.xml"/><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tags" Target="../tags/tag71.xml"/><Relationship Id="rId11" Type="http://schemas.openxmlformats.org/officeDocument/2006/relationships/tags" Target="../tags/tag76.xml"/><Relationship Id="rId5" Type="http://schemas.openxmlformats.org/officeDocument/2006/relationships/tags" Target="../tags/tag70.xml"/><Relationship Id="rId10" Type="http://schemas.openxmlformats.org/officeDocument/2006/relationships/tags" Target="../tags/tag75.xml"/><Relationship Id="rId4" Type="http://schemas.openxmlformats.org/officeDocument/2006/relationships/tags" Target="../tags/tag69.xml"/><Relationship Id="rId9" Type="http://schemas.openxmlformats.org/officeDocument/2006/relationships/tags" Target="../tags/tag7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girl-pp-cover.jpg"/>
          <p:cNvPicPr>
            <a:picLocks noChangeAspect="1"/>
          </p:cNvPicPr>
          <p:nvPr>
            <p:custDataLst>
              <p:tags r:id="rId2"/>
            </p:custDataLst>
          </p:nvPr>
        </p:nvPicPr>
        <p:blipFill>
          <a:blip r:embed="rId14">
            <a:extLst>
              <a:ext uri="{28A0092B-C50C-407E-A947-70E740481C1C}">
                <a14:useLocalDpi xmlns:a14="http://schemas.microsoft.com/office/drawing/2010/main" val="0"/>
              </a:ext>
            </a:extLst>
          </a:blip>
          <a:stretch>
            <a:fillRect/>
          </a:stretch>
        </p:blipFill>
        <p:spPr>
          <a:xfrm>
            <a:off x="10133" y="0"/>
            <a:ext cx="12189212" cy="6867848"/>
          </a:xfrm>
          <a:prstGeom prst="rect">
            <a:avLst/>
          </a:prstGeom>
        </p:spPr>
      </p:pic>
      <p:graphicFrame>
        <p:nvGraphicFramePr>
          <p:cNvPr id="4" name="Object 3" hidden="1"/>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3" name="think-cell Slide" r:id="rId15" imgW="473" imgH="473" progId="TCLayout.ActiveDocument.1">
                  <p:embed/>
                </p:oleObj>
              </mc:Choice>
              <mc:Fallback>
                <p:oleObj name="think-cell Slide" r:id="rId15" imgW="473" imgH="473" progId="TCLayout.ActiveDocument.1">
                  <p:embed/>
                  <p:pic>
                    <p:nvPicPr>
                      <p:cNvPr id="4" name="Object 3" hidden="1"/>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8" name="Rectangle 7"/>
          <p:cNvSpPr/>
          <p:nvPr>
            <p:custDataLst>
              <p:tags r:id="rId4"/>
            </p:custDataLst>
          </p:nvPr>
        </p:nvSpPr>
        <p:spPr>
          <a:xfrm>
            <a:off x="-3" y="0"/>
            <a:ext cx="5852163" cy="6867848"/>
          </a:xfrm>
          <a:prstGeom prst="rect">
            <a:avLst/>
          </a:prstGeom>
          <a:gradFill flip="none" rotWithShape="1">
            <a:gsLst>
              <a:gs pos="0">
                <a:schemeClr val="tx1">
                  <a:alpha val="65000"/>
                </a:schemeClr>
              </a:gs>
              <a:gs pos="24000">
                <a:schemeClr val="tx1">
                  <a:alpha val="59000"/>
                </a:scheme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solidFill>
                <a:srgbClr val="FFFFFF"/>
              </a:solidFill>
            </a:endParaRPr>
          </a:p>
        </p:txBody>
      </p:sp>
      <p:sp>
        <p:nvSpPr>
          <p:cNvPr id="2" name="Title 1"/>
          <p:cNvSpPr>
            <a:spLocks noGrp="1"/>
          </p:cNvSpPr>
          <p:nvPr>
            <p:ph type="ctrTitle"/>
            <p:custDataLst>
              <p:tags r:id="rId5"/>
            </p:custDataLst>
          </p:nvPr>
        </p:nvSpPr>
        <p:spPr>
          <a:xfrm>
            <a:off x="511883" y="2087217"/>
            <a:ext cx="5100023" cy="1587701"/>
          </a:xfrm>
        </p:spPr>
        <p:txBody>
          <a:bodyPr>
            <a:noAutofit/>
          </a:bodyPr>
          <a:lstStyle/>
          <a:p>
            <a:pPr algn="l" rtl="0"/>
            <a:r>
              <a:rPr lang="fr-ca" sz="3200" b="1" i="0" u="none" baseline="0" dirty="0">
                <a:solidFill>
                  <a:schemeClr val="bg1"/>
                </a:solidFill>
              </a:rPr>
              <a:t>Établir un réseau d’agents de changement</a:t>
            </a:r>
            <a:endParaRPr lang="fr-ca" sz="3200" dirty="0"/>
          </a:p>
        </p:txBody>
      </p:sp>
      <p:sp>
        <p:nvSpPr>
          <p:cNvPr id="3" name="Subtitle 2"/>
          <p:cNvSpPr>
            <a:spLocks noGrp="1"/>
          </p:cNvSpPr>
          <p:nvPr>
            <p:ph type="subTitle" idx="1"/>
            <p:custDataLst>
              <p:tags r:id="rId6"/>
            </p:custDataLst>
          </p:nvPr>
        </p:nvSpPr>
        <p:spPr>
          <a:xfrm>
            <a:off x="545307" y="3657327"/>
            <a:ext cx="3150393" cy="678352"/>
          </a:xfrm>
        </p:spPr>
        <p:txBody>
          <a:bodyPr>
            <a:normAutofit/>
          </a:bodyPr>
          <a:lstStyle/>
          <a:p>
            <a:pPr algn="l" rtl="0"/>
            <a:r>
              <a:rPr lang="fr-ca" b="1" i="0" u="none" baseline="0" dirty="0">
                <a:solidFill>
                  <a:schemeClr val="accent2"/>
                </a:solidFill>
              </a:rPr>
              <a:t>Un cadre pour les gestionnaires et les agents de changement</a:t>
            </a:r>
          </a:p>
        </p:txBody>
      </p:sp>
      <p:sp>
        <p:nvSpPr>
          <p:cNvPr id="9" name="Rectangle 8"/>
          <p:cNvSpPr/>
          <p:nvPr>
            <p:custDataLst>
              <p:tags r:id="rId7"/>
            </p:custDataLst>
          </p:nvPr>
        </p:nvSpPr>
        <p:spPr>
          <a:xfrm>
            <a:off x="-2" y="6130345"/>
            <a:ext cx="12192002" cy="7375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solidFill>
                <a:srgbClr val="FFFFFF"/>
              </a:solidFill>
            </a:endParaRPr>
          </a:p>
        </p:txBody>
      </p:sp>
      <p:pic>
        <p:nvPicPr>
          <p:cNvPr id="13" name="Picture 12"/>
          <p:cNvPicPr>
            <a:picLocks noChangeAspect="1"/>
          </p:cNvPicPr>
          <p:nvPr>
            <p:custDataLst>
              <p:tags r:id="rId8"/>
            </p:custDataLst>
          </p:nvPr>
        </p:nvPicPr>
        <p:blipFill>
          <a:blip r:embed="rId17">
            <a:extLst>
              <a:ext uri="{28A0092B-C50C-407E-A947-70E740481C1C}">
                <a14:useLocalDpi xmlns:a14="http://schemas.microsoft.com/office/drawing/2010/main" val="0"/>
              </a:ext>
            </a:extLst>
          </a:blip>
          <a:srcRect/>
          <a:stretch/>
        </p:blipFill>
        <p:spPr>
          <a:xfrm>
            <a:off x="563399" y="409628"/>
            <a:ext cx="2709757" cy="514612"/>
          </a:xfrm>
          <a:prstGeom prst="rect">
            <a:avLst/>
          </a:prstGeom>
        </p:spPr>
      </p:pic>
      <p:pic>
        <p:nvPicPr>
          <p:cNvPr id="14" name="Picture 13" descr="Image result for canada wordmark">
            <a:hlinkClick r:id="rId18"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p:custDataLst>
              <p:tags r:id="rId9"/>
            </p:custDataLst>
          </p:nvPr>
        </p:nvPicPr>
        <p:blipFill>
          <a:blip r:embed="rId19" cstate="print">
            <a:extLst>
              <a:ext uri="{28A0092B-C50C-407E-A947-70E740481C1C}">
                <a14:useLocalDpi xmlns:a14="http://schemas.microsoft.com/office/drawing/2010/main" val="0"/>
              </a:ext>
            </a:extLst>
          </a:blip>
          <a:srcRect/>
          <a:stretch>
            <a:fillRect/>
          </a:stretch>
        </p:blipFill>
        <p:spPr bwMode="auto">
          <a:xfrm>
            <a:off x="10752888" y="6396331"/>
            <a:ext cx="885392" cy="229331"/>
          </a:xfrm>
          <a:prstGeom prst="rect">
            <a:avLst/>
          </a:prstGeom>
          <a:noFill/>
          <a:ln>
            <a:noFill/>
          </a:ln>
        </p:spPr>
      </p:pic>
      <p:pic>
        <p:nvPicPr>
          <p:cNvPr id="17" name="Picture 16">
            <a:extLst>
              <a:ext uri="{FF2B5EF4-FFF2-40B4-BE49-F238E27FC236}">
                <a16:creationId xmlns:a16="http://schemas.microsoft.com/office/drawing/2014/main" id="{89CA9733-78EF-5F49-81C1-064DE89D5260}"/>
              </a:ext>
            </a:extLst>
          </p:cNvPr>
          <p:cNvPicPr>
            <a:picLocks noChangeAspect="1"/>
          </p:cNvPicPr>
          <p:nvPr>
            <p:custDataLst>
              <p:tags r:id="rId10"/>
            </p:custDataLst>
          </p:nvPr>
        </p:nvPicPr>
        <p:blipFill>
          <a:blip r:embed="rId20" cstate="print">
            <a:extLst>
              <a:ext uri="{28A0092B-C50C-407E-A947-70E740481C1C}">
                <a14:useLocalDpi xmlns:a14="http://schemas.microsoft.com/office/drawing/2010/main" val="0"/>
              </a:ext>
            </a:extLst>
          </a:blip>
          <a:stretch>
            <a:fillRect/>
          </a:stretch>
        </p:blipFill>
        <p:spPr>
          <a:xfrm>
            <a:off x="585681" y="6374997"/>
            <a:ext cx="2036645" cy="250665"/>
          </a:xfrm>
          <a:prstGeom prst="rect">
            <a:avLst/>
          </a:prstGeom>
        </p:spPr>
      </p:pic>
      <p:sp>
        <p:nvSpPr>
          <p:cNvPr id="7" name="Text Placeholder 6"/>
          <p:cNvSpPr>
            <a:spLocks noGrp="1"/>
          </p:cNvSpPr>
          <p:nvPr>
            <p:ph type="body" sz="quarter" idx="13"/>
            <p:custDataLst>
              <p:tags r:id="rId11"/>
            </p:custDataLst>
          </p:nvPr>
        </p:nvSpPr>
        <p:spPr>
          <a:xfrm>
            <a:off x="563399" y="5498656"/>
            <a:ext cx="3494087" cy="526957"/>
          </a:xfrm>
        </p:spPr>
        <p:txBody>
          <a:bodyPr/>
          <a:lstStyle/>
          <a:p>
            <a:pPr algn="l" rtl="0"/>
            <a:r>
              <a:rPr lang="fr-ca" dirty="0">
                <a:solidFill>
                  <a:schemeClr val="bg1"/>
                </a:solidFill>
              </a:rPr>
              <a:t>Septembre </a:t>
            </a:r>
            <a:r>
              <a:rPr lang="fr-ca" b="0" i="0" u="none" baseline="0" dirty="0">
                <a:solidFill>
                  <a:schemeClr val="bg1"/>
                </a:solidFill>
              </a:rPr>
              <a:t>2022</a:t>
            </a:r>
          </a:p>
        </p:txBody>
      </p:sp>
    </p:spTree>
    <p:extLst>
      <p:ext uri="{BB962C8B-B14F-4D97-AF65-F5344CB8AC3E}">
        <p14:creationId xmlns:p14="http://schemas.microsoft.com/office/powerpoint/2010/main" val="173960620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7EF88C7-4DA9-4E5D-AAD7-D108019E3A91}"/>
              </a:ext>
            </a:extLst>
          </p:cNvPr>
          <p:cNvSpPr>
            <a:spLocks noGrp="1"/>
          </p:cNvSpPr>
          <p:nvPr>
            <p:ph type="title"/>
            <p:custDataLst>
              <p:tags r:id="rId1"/>
            </p:custDataLst>
          </p:nvPr>
        </p:nvSpPr>
        <p:spPr/>
        <p:txBody>
          <a:bodyPr/>
          <a:lstStyle/>
          <a:p>
            <a:pPr algn="l" rtl="0"/>
            <a:r>
              <a:rPr lang="fr-ca" b="1" i="0" u="none" baseline="0" dirty="0"/>
              <a:t>À propos du guide</a:t>
            </a:r>
            <a:endParaRPr lang="fr-ca" dirty="0"/>
          </a:p>
        </p:txBody>
      </p:sp>
      <p:sp>
        <p:nvSpPr>
          <p:cNvPr id="6" name="TextBox 5">
            <a:extLst>
              <a:ext uri="{FF2B5EF4-FFF2-40B4-BE49-F238E27FC236}">
                <a16:creationId xmlns:a16="http://schemas.microsoft.com/office/drawing/2014/main" id="{A2BD1636-0B06-4314-AE47-116EE81F83A6}"/>
              </a:ext>
            </a:extLst>
          </p:cNvPr>
          <p:cNvSpPr txBox="1"/>
          <p:nvPr>
            <p:custDataLst>
              <p:tags r:id="rId2"/>
            </p:custDataLst>
          </p:nvPr>
        </p:nvSpPr>
        <p:spPr>
          <a:xfrm>
            <a:off x="508759" y="1385888"/>
            <a:ext cx="11530841" cy="4832092"/>
          </a:xfrm>
          <a:prstGeom prst="rect">
            <a:avLst/>
          </a:prstGeom>
          <a:noFill/>
        </p:spPr>
        <p:txBody>
          <a:bodyPr wrap="square" rtlCol="0">
            <a:spAutoFit/>
          </a:bodyPr>
          <a:lstStyle/>
          <a:p>
            <a:pPr algn="l" rtl="0">
              <a:spcAft>
                <a:spcPts val="1200"/>
              </a:spcAft>
            </a:pPr>
            <a:r>
              <a:rPr lang="fr-ca" b="0" i="0" u="none" baseline="0" dirty="0">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Ce guide s’adresse aux gestionnaires de changement qui soutiennent les programmes de modernisation ou de transformation du lieu de travail. Il vise à fournir un cadre pour nommer et soutenir les agents de changement. </a:t>
            </a:r>
          </a:p>
          <a:p>
            <a:pPr algn="l" rtl="0"/>
            <a:r>
              <a:rPr lang="fr-ca" b="0" i="0" u="none" baseline="0" dirty="0">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Voici les renseignements contenus dans le présent guide : </a:t>
            </a:r>
          </a:p>
          <a:p>
            <a:pPr marL="800100" lvl="1" indent="-342900" algn="l" rtl="0">
              <a:buClr>
                <a:schemeClr val="tx1"/>
              </a:buClr>
              <a:buFont typeface="+mj-lt"/>
              <a:buAutoNum type="arabicPeriod"/>
            </a:pPr>
            <a:r>
              <a:rPr lang="fr-ca" b="0" i="0" u="none" baseline="0" dirty="0">
                <a:solidFill>
                  <a:schemeClr val="accent2"/>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hlinkClick r:id="rId4" action="ppaction://hlinksldjump">
                  <a:extLst>
                    <a:ext uri="{A12FA001-AC4F-418D-AE19-62706E023703}">
                      <ahyp:hlinkClr xmlns:ahyp="http://schemas.microsoft.com/office/drawing/2018/hyperlinkcolor" val="tx"/>
                    </a:ext>
                  </a:extLst>
                </a:hlinkClick>
              </a:rPr>
              <a:t>Qu’est-ce qu’un agent de changement et un réseau des agents de changement? </a:t>
            </a:r>
            <a:endParaRPr lang="fr-ca" dirty="0">
              <a:solidFill>
                <a:schemeClr val="accent2"/>
              </a:solidFill>
              <a:latin typeface="Calibri" panose="020F0502020204030204" pitchFamily="34" charset="0"/>
              <a:cs typeface="Calibri" panose="020F0502020204030204" pitchFamily="34" charset="0"/>
            </a:endParaRPr>
          </a:p>
          <a:p>
            <a:pPr marL="800100" lvl="1" indent="-342900" algn="l" rtl="0">
              <a:buClr>
                <a:schemeClr val="tx1"/>
              </a:buClr>
              <a:buFont typeface="+mj-lt"/>
              <a:buAutoNum type="arabicPeriod"/>
            </a:pPr>
            <a:r>
              <a:rPr lang="fr-ca" b="0" i="0" u="none" baseline="0" dirty="0">
                <a:solidFill>
                  <a:schemeClr val="accent2"/>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hlinkClick r:id="rId5" action="ppaction://hlinksldjump">
                  <a:extLst>
                    <a:ext uri="{A12FA001-AC4F-418D-AE19-62706E023703}">
                      <ahyp:hlinkClr xmlns:ahyp="http://schemas.microsoft.com/office/drawing/2018/hyperlinkcolor" val="tx"/>
                    </a:ext>
                  </a:extLst>
                </a:hlinkClick>
              </a:rPr>
              <a:t>Quelles sont les responsabilités des agents de changement? </a:t>
            </a:r>
            <a:endParaRPr lang="fr-ca" dirty="0">
              <a:solidFill>
                <a:schemeClr val="accent2"/>
              </a:solidFill>
              <a:latin typeface="Calibri" panose="020F0502020204030204" pitchFamily="34" charset="0"/>
              <a:cs typeface="Calibri" panose="020F0502020204030204" pitchFamily="34" charset="0"/>
            </a:endParaRPr>
          </a:p>
          <a:p>
            <a:pPr marL="800100" lvl="1" indent="-342900" algn="l" rtl="0">
              <a:buClr>
                <a:schemeClr val="tx1"/>
              </a:buClr>
              <a:buFont typeface="+mj-lt"/>
              <a:buAutoNum type="arabicPeriod"/>
            </a:pPr>
            <a:r>
              <a:rPr lang="fr-ca" b="0" i="0" u="none" baseline="0" dirty="0">
                <a:solidFill>
                  <a:schemeClr val="accent2"/>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hlinkClick r:id="rId6" action="ppaction://hlinksldjump">
                  <a:extLst>
                    <a:ext uri="{A12FA001-AC4F-418D-AE19-62706E023703}">
                      <ahyp:hlinkClr xmlns:ahyp="http://schemas.microsoft.com/office/drawing/2018/hyperlinkcolor" val="tx"/>
                    </a:ext>
                  </a:extLst>
                </a:hlinkClick>
              </a:rPr>
              <a:t>Comment nommer et sélectionner les agents de changement? </a:t>
            </a:r>
            <a:endParaRPr lang="fr-ca" dirty="0">
              <a:solidFill>
                <a:schemeClr val="accent2"/>
              </a:solidFill>
              <a:latin typeface="Calibri" panose="020F0502020204030204" pitchFamily="34" charset="0"/>
              <a:cs typeface="Calibri" panose="020F0502020204030204" pitchFamily="34" charset="0"/>
            </a:endParaRPr>
          </a:p>
          <a:p>
            <a:pPr marL="800100" lvl="1" indent="-342900" algn="l" rtl="0">
              <a:buClr>
                <a:schemeClr val="tx1"/>
              </a:buClr>
              <a:buFont typeface="+mj-lt"/>
              <a:buAutoNum type="arabicPeriod"/>
            </a:pPr>
            <a:r>
              <a:rPr lang="fr-ca" b="0" i="0" u="none" baseline="0" dirty="0">
                <a:solidFill>
                  <a:schemeClr val="accent2"/>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hlinkClick r:id="rId7" action="ppaction://hlinksldjump">
                  <a:extLst>
                    <a:ext uri="{A12FA001-AC4F-418D-AE19-62706E023703}">
                      <ahyp:hlinkClr xmlns:ahyp="http://schemas.microsoft.com/office/drawing/2018/hyperlinkcolor" val="tx"/>
                    </a:ext>
                  </a:extLst>
                </a:hlinkClick>
              </a:rPr>
              <a:t>Qui soutient les agents de changement? </a:t>
            </a:r>
            <a:endParaRPr lang="fr-ca" dirty="0">
              <a:solidFill>
                <a:schemeClr val="accent2"/>
              </a:solidFill>
              <a:latin typeface="Calibri" panose="020F0502020204030204" pitchFamily="34" charset="0"/>
              <a:cs typeface="Calibri" panose="020F0502020204030204" pitchFamily="34" charset="0"/>
            </a:endParaRPr>
          </a:p>
          <a:p>
            <a:pPr marL="800100" lvl="1" indent="-342900" algn="l" rtl="0">
              <a:buClr>
                <a:schemeClr val="tx1"/>
              </a:buClr>
              <a:buFont typeface="+mj-lt"/>
              <a:buAutoNum type="arabicPeriod"/>
            </a:pPr>
            <a:r>
              <a:rPr lang="fr-ca" b="0" i="0" u="none" baseline="0" dirty="0">
                <a:solidFill>
                  <a:schemeClr val="accent2"/>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hlinkClick r:id="rId8" action="ppaction://hlinksldjump">
                  <a:extLst>
                    <a:ext uri="{A12FA001-AC4F-418D-AE19-62706E023703}">
                      <ahyp:hlinkClr xmlns:ahyp="http://schemas.microsoft.com/office/drawing/2018/hyperlinkcolor" val="tx"/>
                    </a:ext>
                  </a:extLst>
                </a:hlinkClick>
              </a:rPr>
              <a:t>Chronologie des agents de changement</a:t>
            </a:r>
            <a:endParaRPr lang="fr-ca" dirty="0">
              <a:solidFill>
                <a:schemeClr val="accent2"/>
              </a:solidFill>
              <a:latin typeface="Calibri" panose="020F0502020204030204" pitchFamily="34" charset="0"/>
              <a:cs typeface="Calibri" panose="020F0502020204030204" pitchFamily="34" charset="0"/>
            </a:endParaRPr>
          </a:p>
          <a:p>
            <a:pPr marL="800100" lvl="1" indent="-342900" algn="l" rtl="0">
              <a:buClr>
                <a:schemeClr val="tx1"/>
              </a:buClr>
              <a:buFont typeface="+mj-lt"/>
              <a:buAutoNum type="arabicPeriod"/>
            </a:pPr>
            <a:r>
              <a:rPr lang="fr-ca" b="0" i="0" u="none" baseline="0" dirty="0">
                <a:solidFill>
                  <a:schemeClr val="accent2"/>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hlinkClick r:id="rId9" action="ppaction://hlinksldjump">
                  <a:extLst>
                    <a:ext uri="{A12FA001-AC4F-418D-AE19-62706E023703}">
                      <ahyp:hlinkClr xmlns:ahyp="http://schemas.microsoft.com/office/drawing/2018/hyperlinkcolor" val="tx"/>
                    </a:ext>
                  </a:extLst>
                </a:hlinkClick>
              </a:rPr>
              <a:t>Pratiques exemplaires pour les agents de changement</a:t>
            </a:r>
            <a:endParaRPr lang="fr-ca" dirty="0">
              <a:solidFill>
                <a:schemeClr val="accent2"/>
              </a:solidFill>
              <a:latin typeface="Calibri" panose="020F0502020204030204" pitchFamily="34" charset="0"/>
              <a:cs typeface="Calibri" panose="020F0502020204030204" pitchFamily="34" charset="0"/>
            </a:endParaRPr>
          </a:p>
          <a:p>
            <a:pPr marL="800100" lvl="1" indent="-342900" algn="l" rtl="0">
              <a:buClr>
                <a:schemeClr val="tx1"/>
              </a:buClr>
              <a:buFont typeface="+mj-lt"/>
              <a:buAutoNum type="arabicPeriod"/>
            </a:pPr>
            <a:r>
              <a:rPr lang="fr-ca" b="0" i="0" u="none" baseline="0" dirty="0">
                <a:solidFill>
                  <a:schemeClr val="accent2"/>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hlinkClick r:id="" action="ppaction://noaction">
                  <a:extLst>
                    <a:ext uri="{A12FA001-AC4F-418D-AE19-62706E023703}">
                      <ahyp:hlinkClr xmlns:ahyp="http://schemas.microsoft.com/office/drawing/2018/hyperlinkcolor" val="tx"/>
                    </a:ext>
                  </a:extLst>
                </a:hlinkClick>
              </a:rPr>
              <a:t>Outils et ressources</a:t>
            </a:r>
            <a:endParaRPr lang="fr-ca" dirty="0">
              <a:solidFill>
                <a:schemeClr val="accent2"/>
              </a:solidFill>
              <a:latin typeface="Calibri" panose="020F0502020204030204" pitchFamily="34" charset="0"/>
              <a:cs typeface="Calibri" panose="020F0502020204030204" pitchFamily="34" charset="0"/>
            </a:endParaRPr>
          </a:p>
          <a:p>
            <a:pPr marL="1257300" lvl="2" indent="-342900" algn="l" rtl="0">
              <a:buFont typeface="Arial" panose="020B0604020202020204" pitchFamily="34" charset="0"/>
              <a:buChar char="•"/>
            </a:pPr>
            <a:r>
              <a:rPr lang="fr-ca" b="0" i="0" u="none" baseline="0" dirty="0">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Communications pour les agents de changement</a:t>
            </a:r>
          </a:p>
          <a:p>
            <a:pPr marL="1257300" lvl="2" indent="-342900" algn="l" rtl="0">
              <a:spcAft>
                <a:spcPts val="1200"/>
              </a:spcAft>
              <a:buFont typeface="Arial" panose="020B0604020202020204" pitchFamily="34" charset="0"/>
              <a:buChar char="•"/>
            </a:pPr>
            <a:r>
              <a:rPr lang="fr-ca" b="0" i="0" u="none" baseline="0" dirty="0">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Ressources sur la gestion du changement*</a:t>
            </a:r>
          </a:p>
          <a:p>
            <a:pPr algn="l" rtl="0">
              <a:spcAft>
                <a:spcPts val="1200"/>
              </a:spcAft>
            </a:pPr>
            <a:r>
              <a:rPr lang="fr-ca" b="0" i="0" u="none" baseline="0" dirty="0">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Les gestionnaires de changement devraient joindre l’hyperlien du document </a:t>
            </a:r>
            <a:r>
              <a:rPr lang="fr-ca" b="0" i="1" u="none" baseline="0" dirty="0">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Réseau d’agents de changement : un guide pour les agents de changement</a:t>
            </a:r>
            <a:r>
              <a:rPr lang="fr-ca" b="0" i="0" u="none" baseline="0" dirty="0">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 qui se trouve à la fin du présent guide, à l’invitation envoyée aux agents de changement pour la réunion initiale (également jointe à la fin du présent guide). Les gestionnaires de changement peuvent présenter le contenu du guide aux agents de changement pendant la réunion initiale.  </a:t>
            </a:r>
          </a:p>
        </p:txBody>
      </p:sp>
      <p:sp>
        <p:nvSpPr>
          <p:cNvPr id="2" name="TextBox 1">
            <a:extLst>
              <a:ext uri="{FF2B5EF4-FFF2-40B4-BE49-F238E27FC236}">
                <a16:creationId xmlns:a16="http://schemas.microsoft.com/office/drawing/2014/main" id="{2B70A235-0F72-4303-BCE7-CB341A0F8EEC}"/>
              </a:ext>
            </a:extLst>
          </p:cNvPr>
          <p:cNvSpPr txBox="1"/>
          <p:nvPr/>
        </p:nvSpPr>
        <p:spPr>
          <a:xfrm>
            <a:off x="6582323" y="968374"/>
            <a:ext cx="5100918" cy="307777"/>
          </a:xfrm>
          <a:prstGeom prst="rect">
            <a:avLst/>
          </a:prstGeom>
          <a:noFill/>
        </p:spPr>
        <p:txBody>
          <a:bodyPr wrap="square" rtlCol="0">
            <a:spAutoFit/>
          </a:bodyPr>
          <a:lstStyle/>
          <a:p>
            <a:r>
              <a:rPr lang="fr-CA" sz="1400" dirty="0">
                <a:latin typeface="Calibri" panose="020F0502020204030204" pitchFamily="34" charset="0"/>
                <a:cs typeface="Calibri" panose="020F0502020204030204" pitchFamily="34" charset="0"/>
              </a:rPr>
              <a:t>La version anglaise de de document est disponible ici : </a:t>
            </a:r>
            <a:r>
              <a:rPr lang="fr-CA" sz="1400" dirty="0">
                <a:latin typeface="Calibri" panose="020F0502020204030204" pitchFamily="34" charset="0"/>
                <a:cs typeface="Calibri" panose="020F0502020204030204" pitchFamily="34" charset="0"/>
                <a:hlinkClick r:id="rId10"/>
              </a:rPr>
              <a:t>Version ANG </a:t>
            </a:r>
            <a:endParaRPr lang="en-CA" sz="14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2324826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00A9EF-0E85-4D70-83D0-7B8DC72FFF20}"/>
              </a:ext>
            </a:extLst>
          </p:cNvPr>
          <p:cNvSpPr>
            <a:spLocks noGrp="1"/>
          </p:cNvSpPr>
          <p:nvPr>
            <p:ph type="title"/>
            <p:custDataLst>
              <p:tags r:id="rId1"/>
            </p:custDataLst>
          </p:nvPr>
        </p:nvSpPr>
        <p:spPr/>
        <p:txBody>
          <a:bodyPr/>
          <a:lstStyle/>
          <a:p>
            <a:pPr algn="l" rtl="0"/>
            <a:r>
              <a:rPr lang="fr-ca" b="1" i="0" u="none" baseline="0"/>
              <a:t>Réseau d’agents de changement</a:t>
            </a:r>
            <a:endParaRPr lang="fr-ca" dirty="0"/>
          </a:p>
        </p:txBody>
      </p:sp>
      <p:sp>
        <p:nvSpPr>
          <p:cNvPr id="3" name="TextBox 2">
            <a:extLst>
              <a:ext uri="{FF2B5EF4-FFF2-40B4-BE49-F238E27FC236}">
                <a16:creationId xmlns:a16="http://schemas.microsoft.com/office/drawing/2014/main" id="{DF2F17A9-C32D-442C-9222-06F096611834}"/>
              </a:ext>
            </a:extLst>
          </p:cNvPr>
          <p:cNvSpPr txBox="1"/>
          <p:nvPr>
            <p:custDataLst>
              <p:tags r:id="rId2"/>
            </p:custDataLst>
          </p:nvPr>
        </p:nvSpPr>
        <p:spPr>
          <a:xfrm>
            <a:off x="3396344" y="2065929"/>
            <a:ext cx="8383280" cy="3447098"/>
          </a:xfrm>
          <a:prstGeom prst="rect">
            <a:avLst/>
          </a:prstGeom>
          <a:noFill/>
        </p:spPr>
        <p:txBody>
          <a:bodyPr wrap="square" rtlCol="0">
            <a:spAutoFit/>
          </a:bodyPr>
          <a:lstStyle/>
          <a:p>
            <a:pPr algn="l" rtl="0">
              <a:spcAft>
                <a:spcPts val="1200"/>
              </a:spcAft>
            </a:pPr>
            <a:r>
              <a:rPr lang="fr-ca" b="0" i="0" u="none" baseline="0" dirty="0"/>
              <a:t>Pour qu’une initiative de changement soit </a:t>
            </a:r>
            <a:r>
              <a:rPr lang="fr-CA" b="0" i="0" u="none" baseline="0" dirty="0"/>
              <a:t>réussie</a:t>
            </a:r>
            <a:r>
              <a:rPr lang="fr-ca" b="0" i="0" u="none" baseline="0" dirty="0"/>
              <a:t>, il faut que le changement soit parrainé au niveau local. </a:t>
            </a:r>
          </a:p>
          <a:p>
            <a:pPr algn="l" rtl="0">
              <a:spcAft>
                <a:spcPts val="1200"/>
              </a:spcAft>
            </a:pPr>
            <a:r>
              <a:rPr lang="fr-ca" b="0" i="0" u="none" baseline="0" dirty="0"/>
              <a:t>Il est recommandé aux ministères clients de mettre en place un réseau d’agents de changement composé de cadres supérieurs, de gestionnaires et de représentants désignés au sein de l’organisation qui ont la capacité de participer activement à l’accompagnement des employés dans le changement.  </a:t>
            </a:r>
          </a:p>
          <a:p>
            <a:pPr algn="l" rtl="0"/>
            <a:r>
              <a:rPr lang="fr-ca" b="0" i="0" u="none" baseline="0" dirty="0"/>
              <a:t>Les agents de changement sont des adeptes précoces du changement, c’est-à-dire des personnes enthousiastes et optimistes face aux changements à venir. </a:t>
            </a:r>
            <a:r>
              <a:rPr lang="fr-FR" b="0" i="0" u="none" baseline="0" dirty="0"/>
              <a:t>. Ils comprennent et représentent les intérêts de leurs collègues qui transitionnent, et travailleront avec les gestionnaires du changement et/ou les gestionnaires de projet pour faciliter une transition réussie</a:t>
            </a:r>
            <a:r>
              <a:rPr lang="fr-ca" b="0" i="0" u="none" baseline="0" dirty="0"/>
              <a:t>. </a:t>
            </a:r>
          </a:p>
        </p:txBody>
      </p:sp>
      <p:pic>
        <p:nvPicPr>
          <p:cNvPr id="5" name="Graphic 4" descr="Connections">
            <a:extLst>
              <a:ext uri="{FF2B5EF4-FFF2-40B4-BE49-F238E27FC236}">
                <a16:creationId xmlns:a16="http://schemas.microsoft.com/office/drawing/2014/main" id="{28B8017F-C9BC-492E-BA60-3D7EC4B1849B}"/>
              </a:ext>
            </a:extLst>
          </p:cNvPr>
          <p:cNvPicPr>
            <a:picLocks noChangeAspect="1"/>
          </p:cNvPicPr>
          <p:nvPr>
            <p:custDataLst>
              <p:tags r:id="rId3"/>
            </p:custDataLst>
          </p:nvPr>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8" r="34960" b="-8"/>
          <a:stretch/>
        </p:blipFill>
        <p:spPr>
          <a:xfrm flipH="1">
            <a:off x="-1" y="1071513"/>
            <a:ext cx="3535680" cy="5435931"/>
          </a:xfrm>
          <a:prstGeom prst="rect">
            <a:avLst/>
          </a:prstGeom>
        </p:spPr>
      </p:pic>
    </p:spTree>
    <p:extLst>
      <p:ext uri="{BB962C8B-B14F-4D97-AF65-F5344CB8AC3E}">
        <p14:creationId xmlns:p14="http://schemas.microsoft.com/office/powerpoint/2010/main" val="33107504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A0AFF2-4F4F-47AF-B9C8-571D0131DD7F}"/>
              </a:ext>
            </a:extLst>
          </p:cNvPr>
          <p:cNvSpPr>
            <a:spLocks noGrp="1"/>
          </p:cNvSpPr>
          <p:nvPr>
            <p:ph type="title"/>
            <p:custDataLst>
              <p:tags r:id="rId1"/>
            </p:custDataLst>
          </p:nvPr>
        </p:nvSpPr>
        <p:spPr/>
        <p:txBody>
          <a:bodyPr/>
          <a:lstStyle/>
          <a:p>
            <a:pPr algn="l" rtl="0"/>
            <a:r>
              <a:rPr lang="fr-ca" b="1" i="0" u="none" baseline="0"/>
              <a:t>Une approche collaborative pour le changement</a:t>
            </a:r>
            <a:endParaRPr lang="fr-ca" dirty="0"/>
          </a:p>
        </p:txBody>
      </p:sp>
      <p:sp>
        <p:nvSpPr>
          <p:cNvPr id="5" name="Hexagon 4">
            <a:extLst>
              <a:ext uri="{FF2B5EF4-FFF2-40B4-BE49-F238E27FC236}">
                <a16:creationId xmlns:a16="http://schemas.microsoft.com/office/drawing/2014/main" id="{D7B0417A-C6F6-4FC0-8EE1-300C04469C06}"/>
              </a:ext>
            </a:extLst>
          </p:cNvPr>
          <p:cNvSpPr/>
          <p:nvPr>
            <p:custDataLst>
              <p:tags r:id="rId2"/>
            </p:custDataLst>
          </p:nvPr>
        </p:nvSpPr>
        <p:spPr>
          <a:xfrm>
            <a:off x="526177" y="1700276"/>
            <a:ext cx="1619794" cy="1396374"/>
          </a:xfrm>
          <a:prstGeom prst="hexagon">
            <a:avLst/>
          </a:prstGeom>
          <a:solidFill>
            <a:srgbClr val="A8CF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938" rtl="0"/>
            <a:r>
              <a:rPr lang="fr-ca" sz="1200" b="0" i="0" u="none" baseline="0" dirty="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Échanger des informations au sujet du changement</a:t>
            </a:r>
            <a:endParaRPr lang="fr-ca" sz="1200" dirty="0">
              <a:solidFill>
                <a:schemeClr val="tx1"/>
              </a:solidFill>
              <a:latin typeface="Arial" panose="020B0604020202020204" pitchFamily="34" charset="0"/>
              <a:cs typeface="Arial" panose="020B0604020202020204" pitchFamily="34" charset="0"/>
            </a:endParaRPr>
          </a:p>
        </p:txBody>
      </p:sp>
      <p:sp>
        <p:nvSpPr>
          <p:cNvPr id="6" name="Hexagon 5">
            <a:extLst>
              <a:ext uri="{FF2B5EF4-FFF2-40B4-BE49-F238E27FC236}">
                <a16:creationId xmlns:a16="http://schemas.microsoft.com/office/drawing/2014/main" id="{DA4DDA2C-E07B-46CC-8F2C-0900256FE3B3}"/>
              </a:ext>
            </a:extLst>
          </p:cNvPr>
          <p:cNvSpPr/>
          <p:nvPr>
            <p:custDataLst>
              <p:tags r:id="rId3"/>
            </p:custDataLst>
          </p:nvPr>
        </p:nvSpPr>
        <p:spPr>
          <a:xfrm>
            <a:off x="1845524" y="2348753"/>
            <a:ext cx="1727266" cy="1476409"/>
          </a:xfrm>
          <a:prstGeom prst="hexag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938" rtl="0"/>
            <a:r>
              <a:rPr lang="fr-ca" sz="1200" b="0" i="0" u="none" baseline="0" dirty="0">
                <a:solidFill>
                  <a:schemeClr val="bg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Créer un environnement positif</a:t>
            </a:r>
            <a:endParaRPr lang="fr-ca" sz="1200" dirty="0">
              <a:solidFill>
                <a:schemeClr val="bg1"/>
              </a:solidFill>
              <a:latin typeface="Arial" panose="020B0604020202020204" pitchFamily="34" charset="0"/>
              <a:cs typeface="Arial" panose="020B0604020202020204" pitchFamily="34" charset="0"/>
            </a:endParaRPr>
          </a:p>
        </p:txBody>
      </p:sp>
      <p:sp>
        <p:nvSpPr>
          <p:cNvPr id="7" name="Hexagon 6">
            <a:extLst>
              <a:ext uri="{FF2B5EF4-FFF2-40B4-BE49-F238E27FC236}">
                <a16:creationId xmlns:a16="http://schemas.microsoft.com/office/drawing/2014/main" id="{451D65C9-B12E-4E5F-9F68-78EEBE64E6FE}"/>
              </a:ext>
            </a:extLst>
          </p:cNvPr>
          <p:cNvSpPr/>
          <p:nvPr>
            <p:custDataLst>
              <p:tags r:id="rId4"/>
            </p:custDataLst>
          </p:nvPr>
        </p:nvSpPr>
        <p:spPr>
          <a:xfrm>
            <a:off x="3298831" y="1705230"/>
            <a:ext cx="1619794" cy="1396374"/>
          </a:xfrm>
          <a:prstGeom prst="hexag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ca" sz="1200" b="0" i="0" u="none" baseline="0" dirty="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Fournir à l’équipe de projet des informations sur les opérations</a:t>
            </a:r>
            <a:endParaRPr lang="fr-ca" sz="1200" dirty="0">
              <a:solidFill>
                <a:schemeClr val="tx1"/>
              </a:solidFill>
              <a:latin typeface="Arial" panose="020B0604020202020204" pitchFamily="34" charset="0"/>
              <a:cs typeface="Arial" panose="020B0604020202020204" pitchFamily="34" charset="0"/>
            </a:endParaRPr>
          </a:p>
        </p:txBody>
      </p:sp>
      <p:sp>
        <p:nvSpPr>
          <p:cNvPr id="8" name="Hexagon 7">
            <a:extLst>
              <a:ext uri="{FF2B5EF4-FFF2-40B4-BE49-F238E27FC236}">
                <a16:creationId xmlns:a16="http://schemas.microsoft.com/office/drawing/2014/main" id="{E8D12326-69DC-4195-95F5-5B3428EC671E}"/>
              </a:ext>
            </a:extLst>
          </p:cNvPr>
          <p:cNvSpPr/>
          <p:nvPr>
            <p:custDataLst>
              <p:tags r:id="rId5"/>
            </p:custDataLst>
          </p:nvPr>
        </p:nvSpPr>
        <p:spPr>
          <a:xfrm>
            <a:off x="3298834" y="3169623"/>
            <a:ext cx="1619794" cy="1396374"/>
          </a:xfrm>
          <a:prstGeom prst="hexag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ca" sz="1200" b="0" i="0" u="none" baseline="0" dirty="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Soulever les enjeux non résolus lors de la mise en œuvre</a:t>
            </a:r>
            <a:endParaRPr lang="fr-ca" sz="1200" dirty="0">
              <a:solidFill>
                <a:schemeClr val="tx1"/>
              </a:solidFill>
              <a:latin typeface="Arial" panose="020B0604020202020204" pitchFamily="34" charset="0"/>
              <a:cs typeface="Arial" panose="020B0604020202020204" pitchFamily="34" charset="0"/>
            </a:endParaRPr>
          </a:p>
        </p:txBody>
      </p:sp>
      <p:sp>
        <p:nvSpPr>
          <p:cNvPr id="9" name="Hexagon 8">
            <a:extLst>
              <a:ext uri="{FF2B5EF4-FFF2-40B4-BE49-F238E27FC236}">
                <a16:creationId xmlns:a16="http://schemas.microsoft.com/office/drawing/2014/main" id="{04FCB405-4FB3-45F2-9AAA-1F6A1E43C396}"/>
              </a:ext>
            </a:extLst>
          </p:cNvPr>
          <p:cNvSpPr/>
          <p:nvPr>
            <p:custDataLst>
              <p:tags r:id="rId6"/>
            </p:custDataLst>
          </p:nvPr>
        </p:nvSpPr>
        <p:spPr>
          <a:xfrm>
            <a:off x="1845524" y="3905499"/>
            <a:ext cx="1727266" cy="1396374"/>
          </a:xfrm>
          <a:prstGeom prst="hexagon">
            <a:avLst/>
          </a:prstGeom>
          <a:solidFill>
            <a:srgbClr val="A8CF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ca" sz="1200" b="0" i="0" u="none" baseline="0" dirty="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Renforcer les normes et l’étiquette du lieu de travail</a:t>
            </a:r>
            <a:endParaRPr lang="fr-ca" sz="1200" dirty="0">
              <a:solidFill>
                <a:schemeClr val="tx1"/>
              </a:solidFill>
              <a:latin typeface="Arial" panose="020B0604020202020204" pitchFamily="34" charset="0"/>
              <a:cs typeface="Arial" panose="020B0604020202020204" pitchFamily="34" charset="0"/>
            </a:endParaRPr>
          </a:p>
        </p:txBody>
      </p:sp>
      <p:sp>
        <p:nvSpPr>
          <p:cNvPr id="10" name="Hexagon 9">
            <a:extLst>
              <a:ext uri="{FF2B5EF4-FFF2-40B4-BE49-F238E27FC236}">
                <a16:creationId xmlns:a16="http://schemas.microsoft.com/office/drawing/2014/main" id="{5ACE1822-5A1D-4884-BDE5-59BBBB09B9FD}"/>
              </a:ext>
            </a:extLst>
          </p:cNvPr>
          <p:cNvSpPr/>
          <p:nvPr>
            <p:custDataLst>
              <p:tags r:id="rId7"/>
            </p:custDataLst>
          </p:nvPr>
        </p:nvSpPr>
        <p:spPr>
          <a:xfrm>
            <a:off x="525483" y="4630569"/>
            <a:ext cx="1619794" cy="1396374"/>
          </a:xfrm>
          <a:prstGeom prst="hexag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ca" sz="1200" b="0" i="0" u="none" baseline="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Cultiver de nouvelles habitudes et attitudes de travail</a:t>
            </a:r>
            <a:endParaRPr lang="fr-ca" sz="1200" dirty="0">
              <a:solidFill>
                <a:schemeClr val="tx1"/>
              </a:solidFill>
              <a:latin typeface="Arial" panose="020B0604020202020204" pitchFamily="34" charset="0"/>
              <a:cs typeface="Arial" panose="020B0604020202020204" pitchFamily="34" charset="0"/>
            </a:endParaRPr>
          </a:p>
        </p:txBody>
      </p:sp>
      <p:sp>
        <p:nvSpPr>
          <p:cNvPr id="11" name="Hexagon 10">
            <a:extLst>
              <a:ext uri="{FF2B5EF4-FFF2-40B4-BE49-F238E27FC236}">
                <a16:creationId xmlns:a16="http://schemas.microsoft.com/office/drawing/2014/main" id="{3BBEC760-FAC5-4468-B0E1-97EEF664EAB8}"/>
              </a:ext>
            </a:extLst>
          </p:cNvPr>
          <p:cNvSpPr/>
          <p:nvPr>
            <p:custDataLst>
              <p:tags r:id="rId8"/>
            </p:custDataLst>
          </p:nvPr>
        </p:nvSpPr>
        <p:spPr>
          <a:xfrm>
            <a:off x="3298834" y="4639722"/>
            <a:ext cx="1619794" cy="1396374"/>
          </a:xfrm>
          <a:prstGeom prst="hexag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ca" sz="1200" b="0" i="0" u="none" baseline="0">
                <a:solidFill>
                  <a:schemeClr val="bg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Réfuter les rumeurs à l’aide de faits</a:t>
            </a:r>
            <a:endParaRPr lang="fr-ca" sz="1200" dirty="0">
              <a:solidFill>
                <a:schemeClr val="bg1"/>
              </a:solidFill>
              <a:latin typeface="Arial" panose="020B0604020202020204" pitchFamily="34" charset="0"/>
              <a:cs typeface="Arial" panose="020B0604020202020204" pitchFamily="34" charset="0"/>
            </a:endParaRPr>
          </a:p>
        </p:txBody>
      </p:sp>
      <p:sp>
        <p:nvSpPr>
          <p:cNvPr id="12" name="TextBox 11">
            <a:extLst>
              <a:ext uri="{FF2B5EF4-FFF2-40B4-BE49-F238E27FC236}">
                <a16:creationId xmlns:a16="http://schemas.microsoft.com/office/drawing/2014/main" id="{A6B7FF87-0426-45B1-9681-34ED1EC5CCE8}"/>
              </a:ext>
            </a:extLst>
          </p:cNvPr>
          <p:cNvSpPr txBox="1"/>
          <p:nvPr>
            <p:custDataLst>
              <p:tags r:id="rId9"/>
            </p:custDataLst>
          </p:nvPr>
        </p:nvSpPr>
        <p:spPr>
          <a:xfrm>
            <a:off x="5000304" y="1364744"/>
            <a:ext cx="7093084" cy="5816977"/>
          </a:xfrm>
          <a:prstGeom prst="rect">
            <a:avLst/>
          </a:prstGeom>
          <a:noFill/>
        </p:spPr>
        <p:txBody>
          <a:bodyPr wrap="square" rtlCol="0">
            <a:spAutoFit/>
          </a:bodyPr>
          <a:lstStyle/>
          <a:p>
            <a:pPr algn="l" rtl="0">
              <a:spcAft>
                <a:spcPts val="1200"/>
              </a:spcAft>
            </a:pPr>
            <a:r>
              <a:rPr lang="fr-ca" b="1" i="0" u="none" baseline="0" dirty="0"/>
              <a:t>Les agents de changement sont des experts de l’initiative de changement et sont donc des membres actifs de l’équipe de projet intégrée.</a:t>
            </a:r>
            <a:r>
              <a:rPr lang="fr-ca" b="0" i="0" u="none" baseline="0" dirty="0"/>
              <a:t> </a:t>
            </a:r>
          </a:p>
          <a:p>
            <a:pPr algn="l" rtl="0">
              <a:spcAft>
                <a:spcPts val="1200"/>
              </a:spcAft>
            </a:pPr>
            <a:r>
              <a:rPr lang="fr-ca" b="0" i="0" u="none" baseline="0" dirty="0"/>
              <a:t>Ils doivent rencontrer régulièrement le ou la gestionnaire de changement et se mobiliser auprès de lui ou d’elle afin d’échanger des renseignements sur la manière dont le changement est perçu par les employés, de fournir des rétroactions sur les renseignements opérationnels et de solliciter des commentaires auprès de leurs collègues. </a:t>
            </a:r>
          </a:p>
          <a:p>
            <a:pPr algn="l" rtl="0">
              <a:spcAft>
                <a:spcPts val="1200"/>
              </a:spcAft>
            </a:pPr>
            <a:r>
              <a:rPr lang="fr-ca" b="0" i="0" u="none" baseline="0" dirty="0"/>
              <a:t>Les agents de changement peuvent également être chargés de présenter le changement aux employés et de soutenir l’apprentissage au niveau local (par exemple, montrer comment utiliser certains points de travail, les outils de collaboration virtuelle, etc.). </a:t>
            </a:r>
          </a:p>
          <a:p>
            <a:pPr algn="l" rtl="0"/>
            <a:r>
              <a:rPr lang="fr-ca" b="0" i="0" u="none" baseline="0" dirty="0"/>
              <a:t>Les fonctions particulières aux projets des agents de changement pourraient inclure le soutien pendant la collecte de renseignements et les phases de déplacement du cycle de vie du projet. En tant que gestionnaire de changement, il est important de se demander si ces fonctions vont se chevaucher. </a:t>
            </a:r>
          </a:p>
          <a:p>
            <a:endParaRPr lang="fr-ca" dirty="0"/>
          </a:p>
          <a:p>
            <a:endParaRPr lang="fr-ca" dirty="0"/>
          </a:p>
          <a:p>
            <a:endParaRPr lang="fr-ca" dirty="0"/>
          </a:p>
        </p:txBody>
      </p:sp>
      <p:sp>
        <p:nvSpPr>
          <p:cNvPr id="13" name="Hexagon 12">
            <a:extLst>
              <a:ext uri="{FF2B5EF4-FFF2-40B4-BE49-F238E27FC236}">
                <a16:creationId xmlns:a16="http://schemas.microsoft.com/office/drawing/2014/main" id="{357BE104-9E90-4082-930D-8E3A3FBE0590}"/>
              </a:ext>
            </a:extLst>
          </p:cNvPr>
          <p:cNvSpPr/>
          <p:nvPr>
            <p:custDataLst>
              <p:tags r:id="rId10"/>
            </p:custDataLst>
          </p:nvPr>
        </p:nvSpPr>
        <p:spPr>
          <a:xfrm>
            <a:off x="418011" y="3169623"/>
            <a:ext cx="1727266" cy="1380609"/>
          </a:xfrm>
          <a:prstGeom prst="hexag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ca" sz="1200" b="0" i="0" u="none" baseline="0" dirty="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Soutenir l’intégration et l’apprentissage</a:t>
            </a:r>
            <a:endParaRPr lang="fr-ca" sz="1200" dirty="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89751371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A0AFF2-4F4F-47AF-B9C8-571D0131DD7F}"/>
              </a:ext>
            </a:extLst>
          </p:cNvPr>
          <p:cNvSpPr>
            <a:spLocks noGrp="1"/>
          </p:cNvSpPr>
          <p:nvPr>
            <p:ph type="title"/>
            <p:custDataLst>
              <p:tags r:id="rId1"/>
            </p:custDataLst>
          </p:nvPr>
        </p:nvSpPr>
        <p:spPr/>
        <p:txBody>
          <a:bodyPr/>
          <a:lstStyle/>
          <a:p>
            <a:pPr algn="l" rtl="0"/>
            <a:r>
              <a:rPr lang="fr-ca" b="1" i="0" u="none" baseline="0"/>
              <a:t>Nomination des agents de changement</a:t>
            </a:r>
            <a:endParaRPr lang="fr-ca" dirty="0"/>
          </a:p>
        </p:txBody>
      </p:sp>
      <p:sp>
        <p:nvSpPr>
          <p:cNvPr id="3" name="TextBox 2">
            <a:extLst>
              <a:ext uri="{FF2B5EF4-FFF2-40B4-BE49-F238E27FC236}">
                <a16:creationId xmlns:a16="http://schemas.microsoft.com/office/drawing/2014/main" id="{0F6AF9F7-617C-4DFE-B8DC-F96018E7C569}"/>
              </a:ext>
            </a:extLst>
          </p:cNvPr>
          <p:cNvSpPr txBox="1"/>
          <p:nvPr>
            <p:custDataLst>
              <p:tags r:id="rId2"/>
            </p:custDataLst>
          </p:nvPr>
        </p:nvSpPr>
        <p:spPr>
          <a:xfrm>
            <a:off x="548596" y="1391193"/>
            <a:ext cx="11365498" cy="2462213"/>
          </a:xfrm>
          <a:prstGeom prst="rect">
            <a:avLst/>
          </a:prstGeom>
          <a:noFill/>
        </p:spPr>
        <p:txBody>
          <a:bodyPr wrap="square" rtlCol="0">
            <a:spAutoFit/>
          </a:bodyPr>
          <a:lstStyle/>
          <a:p>
            <a:pPr algn="l" rtl="0">
              <a:spcAft>
                <a:spcPts val="1200"/>
              </a:spcAft>
            </a:pPr>
            <a:r>
              <a:rPr lang="fr-ca" b="0" i="0" u="none" baseline="0" dirty="0"/>
              <a:t>Les cadres supérieurs et les gestionnaires peuvent sembler être les meilleurs candidats pour les agents de changement, car ils exercent une grande influence sur leur équipe. Toutefois, ces personnes n’ont pas toujours le temps de s’investir à titre de membre actif et visible du changement. Dans de tels cas, les cadres supérieurs devraient choisir des représentants de groupe qui connaissent les exigences de l’équipe, qui ont un bon réseau et de l’influence, en plus d’être optimiste face au changement. </a:t>
            </a:r>
          </a:p>
          <a:p>
            <a:pPr algn="l" rtl="0"/>
            <a:r>
              <a:rPr lang="fr-ca" b="0" i="0" u="none" baseline="0" dirty="0"/>
              <a:t>Dans certains projets, les responsables des groupes de travail ou les capitaines du déménagement au sein de l’équipe de projet intégrée peuvent naturellement passer à la fonction d’agent de changement. Lors de la sélection des intervenants pour ces rôles, il est important de penser à comment ces fonctions peuvent évoluer pendant le cycle de vie du projet. </a:t>
            </a:r>
            <a:endParaRPr lang="fr-ca" dirty="0"/>
          </a:p>
        </p:txBody>
      </p:sp>
      <p:grpSp>
        <p:nvGrpSpPr>
          <p:cNvPr id="45" name="Group 44">
            <a:extLst>
              <a:ext uri="{FF2B5EF4-FFF2-40B4-BE49-F238E27FC236}">
                <a16:creationId xmlns:a16="http://schemas.microsoft.com/office/drawing/2014/main" id="{A5B9F7D6-8BD7-4379-8842-2ED5E0C76E9B}"/>
              </a:ext>
            </a:extLst>
          </p:cNvPr>
          <p:cNvGrpSpPr/>
          <p:nvPr>
            <p:custDataLst>
              <p:tags r:id="rId3"/>
            </p:custDataLst>
          </p:nvPr>
        </p:nvGrpSpPr>
        <p:grpSpPr>
          <a:xfrm>
            <a:off x="62753" y="3853406"/>
            <a:ext cx="11985270" cy="2379215"/>
            <a:chOff x="373337" y="3992451"/>
            <a:chExt cx="11145508" cy="2379215"/>
          </a:xfrm>
        </p:grpSpPr>
        <p:grpSp>
          <p:nvGrpSpPr>
            <p:cNvPr id="11" name="Group 10">
              <a:extLst>
                <a:ext uri="{FF2B5EF4-FFF2-40B4-BE49-F238E27FC236}">
                  <a16:creationId xmlns:a16="http://schemas.microsoft.com/office/drawing/2014/main" id="{2B6DD15F-8EB7-4B38-8F01-092FA864F27B}"/>
                </a:ext>
              </a:extLst>
            </p:cNvPr>
            <p:cNvGrpSpPr/>
            <p:nvPr/>
          </p:nvGrpSpPr>
          <p:grpSpPr>
            <a:xfrm>
              <a:off x="373337" y="3992451"/>
              <a:ext cx="10780217" cy="2379215"/>
              <a:chOff x="373337" y="3992451"/>
              <a:chExt cx="10780217" cy="2379215"/>
            </a:xfrm>
          </p:grpSpPr>
          <p:sp>
            <p:nvSpPr>
              <p:cNvPr id="9" name="Rectangle 8">
                <a:extLst>
                  <a:ext uri="{FF2B5EF4-FFF2-40B4-BE49-F238E27FC236}">
                    <a16:creationId xmlns:a16="http://schemas.microsoft.com/office/drawing/2014/main" id="{9EDB9447-8403-4B20-BCCE-7845EC0CD309}"/>
                  </a:ext>
                </a:extLst>
              </p:cNvPr>
              <p:cNvSpPr/>
              <p:nvPr/>
            </p:nvSpPr>
            <p:spPr>
              <a:xfrm>
                <a:off x="920919" y="4077951"/>
                <a:ext cx="10232635" cy="2208224"/>
              </a:xfrm>
              <a:prstGeom prst="rect">
                <a:avLst/>
              </a:prstGeom>
              <a:gradFill flip="none" rotWithShape="1">
                <a:gsLst>
                  <a:gs pos="0">
                    <a:schemeClr val="bg2">
                      <a:shade val="30000"/>
                      <a:satMod val="115000"/>
                    </a:schemeClr>
                  </a:gs>
                  <a:gs pos="50000">
                    <a:schemeClr val="bg2">
                      <a:shade val="67500"/>
                      <a:satMod val="115000"/>
                    </a:schemeClr>
                  </a:gs>
                  <a:gs pos="100000">
                    <a:schemeClr val="bg2">
                      <a:shade val="100000"/>
                      <a:satMod val="11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a:p>
            </p:txBody>
          </p:sp>
          <p:sp>
            <p:nvSpPr>
              <p:cNvPr id="7" name="Isosceles Triangle 6">
                <a:extLst>
                  <a:ext uri="{FF2B5EF4-FFF2-40B4-BE49-F238E27FC236}">
                    <a16:creationId xmlns:a16="http://schemas.microsoft.com/office/drawing/2014/main" id="{DA77D6D6-E984-413D-851C-53751B777CC8}"/>
                  </a:ext>
                </a:extLst>
              </p:cNvPr>
              <p:cNvSpPr/>
              <p:nvPr/>
            </p:nvSpPr>
            <p:spPr>
              <a:xfrm rot="16200000">
                <a:off x="-453486" y="4904770"/>
                <a:ext cx="2208223" cy="554578"/>
              </a:xfrm>
              <a:prstGeom prst="triangle">
                <a:avLst>
                  <a:gd name="adj" fmla="val 50000"/>
                </a:avLst>
              </a:prstGeom>
              <a:solidFill>
                <a:srgbClr val="88888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a:p>
            </p:txBody>
          </p:sp>
          <p:sp>
            <p:nvSpPr>
              <p:cNvPr id="10" name="TextBox 9">
                <a:extLst>
                  <a:ext uri="{FF2B5EF4-FFF2-40B4-BE49-F238E27FC236}">
                    <a16:creationId xmlns:a16="http://schemas.microsoft.com/office/drawing/2014/main" id="{5B7F22D1-47F0-408C-9DA4-0963E3401975}"/>
                  </a:ext>
                </a:extLst>
              </p:cNvPr>
              <p:cNvSpPr txBox="1"/>
              <p:nvPr/>
            </p:nvSpPr>
            <p:spPr>
              <a:xfrm rot="16200000">
                <a:off x="-31462" y="4920449"/>
                <a:ext cx="2379215" cy="523220"/>
              </a:xfrm>
              <a:prstGeom prst="rect">
                <a:avLst/>
              </a:prstGeom>
              <a:noFill/>
            </p:spPr>
            <p:txBody>
              <a:bodyPr wrap="square" rtlCol="0">
                <a:spAutoFit/>
              </a:bodyPr>
              <a:lstStyle/>
              <a:p>
                <a:pPr algn="ctr" rtl="0"/>
                <a:r>
                  <a:rPr lang="fr-ca" sz="1400" b="1" i="0" u="none" baseline="0">
                    <a:solidFill>
                      <a:schemeClr val="bg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Caractéristiques des agents de changement</a:t>
                </a:r>
                <a:endParaRPr lang="fr-ca" sz="1400" b="1" dirty="0">
                  <a:solidFill>
                    <a:schemeClr val="bg1"/>
                  </a:solidFill>
                  <a:latin typeface="Arial" panose="020B0604020202020204" pitchFamily="34" charset="0"/>
                  <a:cs typeface="Arial" panose="020B0604020202020204" pitchFamily="34" charset="0"/>
                </a:endParaRPr>
              </a:p>
            </p:txBody>
          </p:sp>
        </p:grpSp>
        <p:grpSp>
          <p:nvGrpSpPr>
            <p:cNvPr id="29" name="Group 28">
              <a:extLst>
                <a:ext uri="{FF2B5EF4-FFF2-40B4-BE49-F238E27FC236}">
                  <a16:creationId xmlns:a16="http://schemas.microsoft.com/office/drawing/2014/main" id="{C2CF4139-DB92-4E5D-A7D6-DA601195FD9C}"/>
                </a:ext>
              </a:extLst>
            </p:cNvPr>
            <p:cNvGrpSpPr/>
            <p:nvPr/>
          </p:nvGrpSpPr>
          <p:grpSpPr>
            <a:xfrm>
              <a:off x="1520009" y="5216191"/>
              <a:ext cx="5087888" cy="1069984"/>
              <a:chOff x="616229" y="4077952"/>
              <a:chExt cx="5087888" cy="1069984"/>
            </a:xfrm>
          </p:grpSpPr>
          <p:sp>
            <p:nvSpPr>
              <p:cNvPr id="30" name="Rectangle 29">
                <a:extLst>
                  <a:ext uri="{FF2B5EF4-FFF2-40B4-BE49-F238E27FC236}">
                    <a16:creationId xmlns:a16="http://schemas.microsoft.com/office/drawing/2014/main" id="{B09F18E8-FA9E-4F5E-A26E-917C81CB650C}"/>
                  </a:ext>
                </a:extLst>
              </p:cNvPr>
              <p:cNvSpPr/>
              <p:nvPr/>
            </p:nvSpPr>
            <p:spPr>
              <a:xfrm>
                <a:off x="1199115" y="4077952"/>
                <a:ext cx="4505002" cy="1069984"/>
              </a:xfrm>
              <a:prstGeom prst="rect">
                <a:avLst/>
              </a:prstGeom>
              <a:gradFill flip="none" rotWithShape="1">
                <a:gsLst>
                  <a:gs pos="0">
                    <a:schemeClr val="accent5">
                      <a:tint val="66000"/>
                      <a:satMod val="160000"/>
                    </a:schemeClr>
                  </a:gs>
                  <a:gs pos="50000">
                    <a:schemeClr val="accent5">
                      <a:tint val="44500"/>
                      <a:satMod val="160000"/>
                    </a:schemeClr>
                  </a:gs>
                  <a:gs pos="100000">
                    <a:schemeClr val="accent5">
                      <a:tint val="23500"/>
                      <a:satMod val="160000"/>
                    </a:scheme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sp>
            <p:nvSpPr>
              <p:cNvPr id="31" name="Oval 30">
                <a:extLst>
                  <a:ext uri="{FF2B5EF4-FFF2-40B4-BE49-F238E27FC236}">
                    <a16:creationId xmlns:a16="http://schemas.microsoft.com/office/drawing/2014/main" id="{5D83C3A7-1366-4867-BDFE-33DAD0445DDF}"/>
                  </a:ext>
                </a:extLst>
              </p:cNvPr>
              <p:cNvSpPr/>
              <p:nvPr/>
            </p:nvSpPr>
            <p:spPr>
              <a:xfrm>
                <a:off x="616229" y="4077952"/>
                <a:ext cx="1076454" cy="1069984"/>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grpSp>
        <p:grpSp>
          <p:nvGrpSpPr>
            <p:cNvPr id="6" name="Group 5">
              <a:extLst>
                <a:ext uri="{FF2B5EF4-FFF2-40B4-BE49-F238E27FC236}">
                  <a16:creationId xmlns:a16="http://schemas.microsoft.com/office/drawing/2014/main" id="{E3D0FB74-F67D-4402-A111-8E85FB57EBE7}"/>
                </a:ext>
              </a:extLst>
            </p:cNvPr>
            <p:cNvGrpSpPr/>
            <p:nvPr/>
          </p:nvGrpSpPr>
          <p:grpSpPr>
            <a:xfrm>
              <a:off x="1517929" y="4077952"/>
              <a:ext cx="5087888" cy="1069984"/>
              <a:chOff x="616229" y="4077952"/>
              <a:chExt cx="5087888" cy="1069984"/>
            </a:xfrm>
          </p:grpSpPr>
          <p:sp>
            <p:nvSpPr>
              <p:cNvPr id="5" name="Rectangle 4">
                <a:extLst>
                  <a:ext uri="{FF2B5EF4-FFF2-40B4-BE49-F238E27FC236}">
                    <a16:creationId xmlns:a16="http://schemas.microsoft.com/office/drawing/2014/main" id="{DAA15B48-5865-439E-91CC-398BFA571F1F}"/>
                  </a:ext>
                </a:extLst>
              </p:cNvPr>
              <p:cNvSpPr/>
              <p:nvPr/>
            </p:nvSpPr>
            <p:spPr>
              <a:xfrm>
                <a:off x="1199115" y="4077952"/>
                <a:ext cx="4505002" cy="1069984"/>
              </a:xfrm>
              <a:prstGeom prst="rect">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a:p>
            </p:txBody>
          </p:sp>
          <p:sp>
            <p:nvSpPr>
              <p:cNvPr id="4" name="Oval 3">
                <a:extLst>
                  <a:ext uri="{FF2B5EF4-FFF2-40B4-BE49-F238E27FC236}">
                    <a16:creationId xmlns:a16="http://schemas.microsoft.com/office/drawing/2014/main" id="{2DF5659E-9312-4CF4-A6C4-77049708F41B}"/>
                  </a:ext>
                </a:extLst>
              </p:cNvPr>
              <p:cNvSpPr/>
              <p:nvPr/>
            </p:nvSpPr>
            <p:spPr>
              <a:xfrm>
                <a:off x="616229" y="4077952"/>
                <a:ext cx="1076454" cy="106998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grpSp>
        <p:sp>
          <p:nvSpPr>
            <p:cNvPr id="23" name="TextBox 22">
              <a:extLst>
                <a:ext uri="{FF2B5EF4-FFF2-40B4-BE49-F238E27FC236}">
                  <a16:creationId xmlns:a16="http://schemas.microsoft.com/office/drawing/2014/main" id="{AFD062E9-C5FA-476B-8993-96A204435F9C}"/>
                </a:ext>
              </a:extLst>
            </p:cNvPr>
            <p:cNvSpPr txBox="1"/>
            <p:nvPr/>
          </p:nvSpPr>
          <p:spPr>
            <a:xfrm>
              <a:off x="2596463" y="4135887"/>
              <a:ext cx="3657600" cy="830997"/>
            </a:xfrm>
            <a:prstGeom prst="rect">
              <a:avLst/>
            </a:prstGeom>
            <a:noFill/>
          </p:spPr>
          <p:txBody>
            <a:bodyPr wrap="square" rtlCol="0">
              <a:spAutoFit/>
            </a:bodyPr>
            <a:lstStyle/>
            <a:p>
              <a:pPr algn="l" rtl="0"/>
              <a:r>
                <a:rPr lang="fr-ca" sz="1200" b="1" i="0" u="none" baseline="0" dirty="0">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Plaider en faveur de l’innovation</a:t>
              </a:r>
            </a:p>
            <a:p>
              <a:pPr marL="285750" indent="-285750" algn="l" rtl="0">
                <a:buFont typeface="Arial" panose="020B0604020202020204" pitchFamily="34" charset="0"/>
                <a:buChar char="•"/>
              </a:pPr>
              <a:r>
                <a:rPr lang="fr-ca" sz="1200" b="0" i="0" u="none" baseline="0" dirty="0">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Être disposé à travailler dans l’incertitude</a:t>
              </a:r>
            </a:p>
            <a:p>
              <a:pPr marL="285750" indent="-285750" algn="l" rtl="0">
                <a:buFont typeface="Arial" panose="020B0604020202020204" pitchFamily="34" charset="0"/>
                <a:buChar char="•"/>
              </a:pPr>
              <a:r>
                <a:rPr lang="fr-ca" sz="1200" b="0" i="0" u="none" baseline="0" dirty="0">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Accepter le changement et le voir comme une occasion, non pas comme une menace.</a:t>
              </a:r>
              <a:endParaRPr lang="fr-ca" sz="1200" dirty="0">
                <a:latin typeface="Arial" panose="020B0604020202020204" pitchFamily="34" charset="0"/>
                <a:cs typeface="Arial" panose="020B0604020202020204" pitchFamily="34" charset="0"/>
              </a:endParaRPr>
            </a:p>
          </p:txBody>
        </p:sp>
        <p:grpSp>
          <p:nvGrpSpPr>
            <p:cNvPr id="32" name="Group 31">
              <a:extLst>
                <a:ext uri="{FF2B5EF4-FFF2-40B4-BE49-F238E27FC236}">
                  <a16:creationId xmlns:a16="http://schemas.microsoft.com/office/drawing/2014/main" id="{1B6FDD52-6DC1-41CC-BD21-05DB473AB347}"/>
                </a:ext>
              </a:extLst>
            </p:cNvPr>
            <p:cNvGrpSpPr/>
            <p:nvPr/>
          </p:nvGrpSpPr>
          <p:grpSpPr>
            <a:xfrm>
              <a:off x="5931074" y="4077951"/>
              <a:ext cx="5222480" cy="1069984"/>
              <a:chOff x="481637" y="4077952"/>
              <a:chExt cx="5222480" cy="1069984"/>
            </a:xfrm>
            <a:solidFill>
              <a:schemeClr val="accent2"/>
            </a:solidFill>
          </p:grpSpPr>
          <p:sp>
            <p:nvSpPr>
              <p:cNvPr id="33" name="Rectangle 32">
                <a:extLst>
                  <a:ext uri="{FF2B5EF4-FFF2-40B4-BE49-F238E27FC236}">
                    <a16:creationId xmlns:a16="http://schemas.microsoft.com/office/drawing/2014/main" id="{72B5B48E-DF3E-4A4D-9A25-910F56447323}"/>
                  </a:ext>
                </a:extLst>
              </p:cNvPr>
              <p:cNvSpPr/>
              <p:nvPr/>
            </p:nvSpPr>
            <p:spPr>
              <a:xfrm>
                <a:off x="1199115" y="4077952"/>
                <a:ext cx="4505002" cy="1069984"/>
              </a:xfrm>
              <a:prstGeom prst="rect">
                <a:avLst/>
              </a:prstGeom>
              <a:gradFill flip="none" rotWithShape="1">
                <a:gsLst>
                  <a:gs pos="0">
                    <a:schemeClr val="accent2">
                      <a:tint val="66000"/>
                      <a:satMod val="160000"/>
                    </a:schemeClr>
                  </a:gs>
                  <a:gs pos="50000">
                    <a:schemeClr val="accent2">
                      <a:tint val="44500"/>
                      <a:satMod val="160000"/>
                    </a:schemeClr>
                  </a:gs>
                  <a:gs pos="100000">
                    <a:schemeClr val="accent2">
                      <a:tint val="23500"/>
                      <a:satMod val="160000"/>
                    </a:scheme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sp>
            <p:nvSpPr>
              <p:cNvPr id="34" name="Oval 33">
                <a:extLst>
                  <a:ext uri="{FF2B5EF4-FFF2-40B4-BE49-F238E27FC236}">
                    <a16:creationId xmlns:a16="http://schemas.microsoft.com/office/drawing/2014/main" id="{D632A674-43C3-4740-8B20-463A39F1EA3F}"/>
                  </a:ext>
                </a:extLst>
              </p:cNvPr>
              <p:cNvSpPr/>
              <p:nvPr/>
            </p:nvSpPr>
            <p:spPr>
              <a:xfrm>
                <a:off x="481637" y="4077952"/>
                <a:ext cx="1076454" cy="106998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grpSp>
        <p:grpSp>
          <p:nvGrpSpPr>
            <p:cNvPr id="35" name="Group 34">
              <a:extLst>
                <a:ext uri="{FF2B5EF4-FFF2-40B4-BE49-F238E27FC236}">
                  <a16:creationId xmlns:a16="http://schemas.microsoft.com/office/drawing/2014/main" id="{BA464FA0-E34E-4586-A34A-FABD491F593E}"/>
                </a:ext>
              </a:extLst>
            </p:cNvPr>
            <p:cNvGrpSpPr/>
            <p:nvPr/>
          </p:nvGrpSpPr>
          <p:grpSpPr>
            <a:xfrm>
              <a:off x="5965622" y="5216191"/>
              <a:ext cx="5187932" cy="1069984"/>
              <a:chOff x="516185" y="4077952"/>
              <a:chExt cx="5187932" cy="1069984"/>
            </a:xfrm>
          </p:grpSpPr>
          <p:sp>
            <p:nvSpPr>
              <p:cNvPr id="36" name="Rectangle 35">
                <a:extLst>
                  <a:ext uri="{FF2B5EF4-FFF2-40B4-BE49-F238E27FC236}">
                    <a16:creationId xmlns:a16="http://schemas.microsoft.com/office/drawing/2014/main" id="{36A9BA79-2FA8-489F-8C7A-8C863EAE9B12}"/>
                  </a:ext>
                </a:extLst>
              </p:cNvPr>
              <p:cNvSpPr/>
              <p:nvPr/>
            </p:nvSpPr>
            <p:spPr>
              <a:xfrm>
                <a:off x="1199115" y="4077952"/>
                <a:ext cx="4505002" cy="1069984"/>
              </a:xfrm>
              <a:prstGeom prst="rect">
                <a:avLst/>
              </a:prstGeom>
              <a:gradFill flip="none" rotWithShape="1">
                <a:gsLst>
                  <a:gs pos="0">
                    <a:schemeClr val="accent4">
                      <a:tint val="66000"/>
                      <a:satMod val="160000"/>
                    </a:schemeClr>
                  </a:gs>
                  <a:gs pos="50000">
                    <a:schemeClr val="accent4">
                      <a:tint val="44500"/>
                      <a:satMod val="160000"/>
                    </a:schemeClr>
                  </a:gs>
                  <a:gs pos="100000">
                    <a:schemeClr val="accent4">
                      <a:tint val="23500"/>
                      <a:satMod val="1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sp>
            <p:nvSpPr>
              <p:cNvPr id="37" name="Oval 36">
                <a:extLst>
                  <a:ext uri="{FF2B5EF4-FFF2-40B4-BE49-F238E27FC236}">
                    <a16:creationId xmlns:a16="http://schemas.microsoft.com/office/drawing/2014/main" id="{39E05D76-85C2-4FB0-823F-9224981A53F8}"/>
                  </a:ext>
                </a:extLst>
              </p:cNvPr>
              <p:cNvSpPr/>
              <p:nvPr/>
            </p:nvSpPr>
            <p:spPr>
              <a:xfrm>
                <a:off x="516185" y="4077952"/>
                <a:ext cx="1076454" cy="1069984"/>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grpSp>
        <p:sp>
          <p:nvSpPr>
            <p:cNvPr id="27" name="TextBox 26">
              <a:extLst>
                <a:ext uri="{FF2B5EF4-FFF2-40B4-BE49-F238E27FC236}">
                  <a16:creationId xmlns:a16="http://schemas.microsoft.com/office/drawing/2014/main" id="{A4026DAC-97BB-499A-8438-784026DC5B89}"/>
                </a:ext>
              </a:extLst>
            </p:cNvPr>
            <p:cNvSpPr txBox="1"/>
            <p:nvPr/>
          </p:nvSpPr>
          <p:spPr>
            <a:xfrm>
              <a:off x="2596463" y="5246814"/>
              <a:ext cx="3798178" cy="1015663"/>
            </a:xfrm>
            <a:prstGeom prst="rect">
              <a:avLst/>
            </a:prstGeom>
            <a:noFill/>
          </p:spPr>
          <p:txBody>
            <a:bodyPr wrap="square" rtlCol="0">
              <a:spAutoFit/>
            </a:bodyPr>
            <a:lstStyle/>
            <a:p>
              <a:pPr algn="l" rtl="0"/>
              <a:r>
                <a:rPr lang="fr-ca" sz="1200" b="1" i="0" u="none" baseline="0" dirty="0">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Être crédible et donner l’exemple</a:t>
              </a:r>
            </a:p>
            <a:p>
              <a:pPr marL="285750" indent="-285750" algn="l" rtl="0">
                <a:buFont typeface="Arial" panose="020B0604020202020204" pitchFamily="34" charset="0"/>
                <a:buChar char="•"/>
              </a:pPr>
              <a:r>
                <a:rPr lang="fr-ca" sz="1200" b="0" i="0" u="none" baseline="0" dirty="0">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Poser des questions et clarifier les faits</a:t>
              </a:r>
            </a:p>
            <a:p>
              <a:pPr marL="285750" indent="-285750" algn="l" rtl="0">
                <a:buFont typeface="Arial" panose="020B0604020202020204" pitchFamily="34" charset="0"/>
                <a:buChar char="•"/>
              </a:pPr>
              <a:r>
                <a:rPr lang="fr-ca" sz="1200" b="0" i="0" u="none" baseline="0" dirty="0">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Avoir de l’influence et de la crédibilité</a:t>
              </a:r>
            </a:p>
            <a:p>
              <a:pPr marL="285750" indent="-285750" algn="l" rtl="0">
                <a:buFont typeface="Arial" panose="020B0604020202020204" pitchFamily="34" charset="0"/>
                <a:buChar char="•"/>
              </a:pPr>
              <a:r>
                <a:rPr lang="fr-ca" sz="1200" b="0" i="0" u="none" baseline="0" dirty="0">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Montrer l’exemple en adoptant les nouveaux comportements</a:t>
              </a:r>
              <a:endParaRPr lang="fr-ca" sz="1200" dirty="0">
                <a:latin typeface="Arial" panose="020B0604020202020204" pitchFamily="34" charset="0"/>
                <a:cs typeface="Arial" panose="020B0604020202020204" pitchFamily="34" charset="0"/>
              </a:endParaRPr>
            </a:p>
          </p:txBody>
        </p:sp>
        <p:sp>
          <p:nvSpPr>
            <p:cNvPr id="28" name="TextBox 27">
              <a:extLst>
                <a:ext uri="{FF2B5EF4-FFF2-40B4-BE49-F238E27FC236}">
                  <a16:creationId xmlns:a16="http://schemas.microsoft.com/office/drawing/2014/main" id="{1B963D51-3EF3-41A5-9E22-B712D318DACD}"/>
                </a:ext>
              </a:extLst>
            </p:cNvPr>
            <p:cNvSpPr txBox="1"/>
            <p:nvPr/>
          </p:nvSpPr>
          <p:spPr>
            <a:xfrm>
              <a:off x="7029251" y="5309569"/>
              <a:ext cx="4011691" cy="1015663"/>
            </a:xfrm>
            <a:prstGeom prst="rect">
              <a:avLst/>
            </a:prstGeom>
            <a:noFill/>
          </p:spPr>
          <p:txBody>
            <a:bodyPr wrap="square" rtlCol="0">
              <a:spAutoFit/>
            </a:bodyPr>
            <a:lstStyle/>
            <a:p>
              <a:pPr algn="l" rtl="0"/>
              <a:r>
                <a:rPr lang="fr-ca" sz="1200" b="1" i="0" u="none" baseline="0" dirty="0">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Savoir communiquer de manière efficace</a:t>
              </a:r>
            </a:p>
            <a:p>
              <a:pPr marL="285750" indent="-285750" algn="l" rtl="0">
                <a:buFont typeface="Arial" panose="020B0604020202020204" pitchFamily="34" charset="0"/>
                <a:buChar char="•"/>
              </a:pPr>
              <a:r>
                <a:rPr lang="fr-ca" sz="1200" b="0" i="0" u="none" baseline="0" dirty="0">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Communiquer clairement de manière positive et entretenir de bonnes relations avec les autres</a:t>
              </a:r>
            </a:p>
            <a:p>
              <a:pPr marL="285750" indent="-285750" algn="l" rtl="0">
                <a:buFont typeface="Arial" panose="020B0604020202020204" pitchFamily="34" charset="0"/>
                <a:buChar char="•"/>
              </a:pPr>
              <a:r>
                <a:rPr lang="fr-ca" sz="1200" b="0" i="0" u="none" baseline="0" dirty="0">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Être considéré comme une personne à qui s’adresser et un leader d’opinion</a:t>
              </a:r>
              <a:endParaRPr lang="fr-ca" sz="1200" dirty="0">
                <a:latin typeface="Arial" panose="020B0604020202020204" pitchFamily="34" charset="0"/>
                <a:cs typeface="Arial" panose="020B0604020202020204" pitchFamily="34" charset="0"/>
              </a:endParaRPr>
            </a:p>
          </p:txBody>
        </p:sp>
        <p:sp>
          <p:nvSpPr>
            <p:cNvPr id="24" name="TextBox 23">
              <a:extLst>
                <a:ext uri="{FF2B5EF4-FFF2-40B4-BE49-F238E27FC236}">
                  <a16:creationId xmlns:a16="http://schemas.microsoft.com/office/drawing/2014/main" id="{D84C8EDC-4DF8-45A6-8DB1-6B43D2082B32}"/>
                </a:ext>
              </a:extLst>
            </p:cNvPr>
            <p:cNvSpPr txBox="1"/>
            <p:nvPr/>
          </p:nvSpPr>
          <p:spPr>
            <a:xfrm>
              <a:off x="6971542" y="4037272"/>
              <a:ext cx="4547303" cy="1200329"/>
            </a:xfrm>
            <a:prstGeom prst="rect">
              <a:avLst/>
            </a:prstGeom>
            <a:noFill/>
          </p:spPr>
          <p:txBody>
            <a:bodyPr wrap="square" rtlCol="0">
              <a:spAutoFit/>
            </a:bodyPr>
            <a:lstStyle/>
            <a:p>
              <a:pPr algn="l" rtl="0"/>
              <a:r>
                <a:rPr lang="fr-ca" sz="1200" b="1" i="0" u="none" baseline="0" dirty="0">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Être orienté vers les résultats et la résolution de problèmes</a:t>
              </a:r>
            </a:p>
            <a:p>
              <a:pPr marL="285750" indent="-285750" algn="l" rtl="0">
                <a:buFont typeface="Arial" panose="020B0604020202020204" pitchFamily="34" charset="0"/>
                <a:buChar char="•"/>
              </a:pPr>
              <a:r>
                <a:rPr lang="fr-ca" sz="1200" b="0" i="0" u="none" baseline="0" dirty="0">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Être persistant, même face à la résistance fréquente</a:t>
              </a:r>
            </a:p>
            <a:p>
              <a:pPr marL="285750" indent="-285750" algn="l" rtl="0">
                <a:buFont typeface="Arial" panose="020B0604020202020204" pitchFamily="34" charset="0"/>
                <a:buChar char="•"/>
              </a:pPr>
              <a:r>
                <a:rPr lang="fr-ca" sz="1200" b="0" i="0" u="none" baseline="0" dirty="0">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Posséder une connaissance approfondie des affaires et des opérations</a:t>
              </a:r>
            </a:p>
            <a:p>
              <a:pPr marL="285750" indent="-285750" algn="l" rtl="0">
                <a:buFont typeface="Arial" panose="020B0604020202020204" pitchFamily="34" charset="0"/>
                <a:buChar char="•"/>
              </a:pPr>
              <a:r>
                <a:rPr lang="fr-ca" sz="1200" b="0" i="0" u="none" baseline="0" dirty="0">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Posséder une démarche concrète pour la résolution de problèmes</a:t>
              </a:r>
              <a:endParaRPr lang="fr-ca" sz="1200" dirty="0">
                <a:latin typeface="Arial" panose="020B0604020202020204" pitchFamily="34" charset="0"/>
                <a:cs typeface="Arial" panose="020B0604020202020204" pitchFamily="34" charset="0"/>
              </a:endParaRPr>
            </a:p>
          </p:txBody>
        </p:sp>
        <p:pic>
          <p:nvPicPr>
            <p:cNvPr id="38" name="Graphic 37" descr="Megaphone">
              <a:extLst>
                <a:ext uri="{FF2B5EF4-FFF2-40B4-BE49-F238E27FC236}">
                  <a16:creationId xmlns:a16="http://schemas.microsoft.com/office/drawing/2014/main" id="{EEA83DE7-ED32-4EF9-8B0E-EA2D246023B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619838" y="4140325"/>
              <a:ext cx="914400" cy="914400"/>
            </a:xfrm>
            <a:prstGeom prst="rect">
              <a:avLst/>
            </a:prstGeom>
          </p:spPr>
        </p:pic>
        <p:pic>
          <p:nvPicPr>
            <p:cNvPr id="40" name="Graphic 39" descr="Shoe footprints">
              <a:extLst>
                <a:ext uri="{FF2B5EF4-FFF2-40B4-BE49-F238E27FC236}">
                  <a16:creationId xmlns:a16="http://schemas.microsoft.com/office/drawing/2014/main" id="{A3333157-58AB-4584-A3CA-D11C3C98D4FE}"/>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649772" y="5311790"/>
              <a:ext cx="852731" cy="852731"/>
            </a:xfrm>
            <a:prstGeom prst="rect">
              <a:avLst/>
            </a:prstGeom>
          </p:spPr>
        </p:pic>
        <p:pic>
          <p:nvPicPr>
            <p:cNvPr id="42" name="Graphic 41" descr="Head with gears">
              <a:extLst>
                <a:ext uri="{FF2B5EF4-FFF2-40B4-BE49-F238E27FC236}">
                  <a16:creationId xmlns:a16="http://schemas.microsoft.com/office/drawing/2014/main" id="{BE045079-DFE8-447D-A7B6-E7B4C9D924A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033143" y="4155740"/>
              <a:ext cx="914400" cy="914400"/>
            </a:xfrm>
            <a:prstGeom prst="rect">
              <a:avLst/>
            </a:prstGeom>
          </p:spPr>
        </p:pic>
        <p:pic>
          <p:nvPicPr>
            <p:cNvPr id="44" name="Graphic 43" descr="User network">
              <a:extLst>
                <a:ext uri="{FF2B5EF4-FFF2-40B4-BE49-F238E27FC236}">
                  <a16:creationId xmlns:a16="http://schemas.microsoft.com/office/drawing/2014/main" id="{E14633DA-DA48-4824-B342-C296D327DA37}"/>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040237" y="5266667"/>
              <a:ext cx="914400" cy="914400"/>
            </a:xfrm>
            <a:prstGeom prst="rect">
              <a:avLst/>
            </a:prstGeom>
          </p:spPr>
        </p:pic>
      </p:grpSp>
    </p:spTree>
    <p:extLst>
      <p:ext uri="{BB962C8B-B14F-4D97-AF65-F5344CB8AC3E}">
        <p14:creationId xmlns:p14="http://schemas.microsoft.com/office/powerpoint/2010/main" val="368436921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4" name="Connector: Elbow 23">
            <a:extLst>
              <a:ext uri="{FF2B5EF4-FFF2-40B4-BE49-F238E27FC236}">
                <a16:creationId xmlns:a16="http://schemas.microsoft.com/office/drawing/2014/main" id="{F39BF62F-1BEC-4CD1-BE74-2B3E5F62DA2C}"/>
              </a:ext>
            </a:extLst>
          </p:cNvPr>
          <p:cNvCxnSpPr>
            <a:cxnSpLocks/>
            <a:stCxn id="3" idx="1"/>
            <a:endCxn id="4" idx="0"/>
          </p:cNvCxnSpPr>
          <p:nvPr>
            <p:custDataLst>
              <p:tags r:id="rId1"/>
            </p:custDataLst>
          </p:nvPr>
        </p:nvCxnSpPr>
        <p:spPr>
          <a:xfrm rot="10800000" flipV="1">
            <a:off x="3462341" y="1881187"/>
            <a:ext cx="966785" cy="421480"/>
          </a:xfrm>
          <a:prstGeom prst="bentConnector2">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7" name="Connector: Elbow 26">
            <a:extLst>
              <a:ext uri="{FF2B5EF4-FFF2-40B4-BE49-F238E27FC236}">
                <a16:creationId xmlns:a16="http://schemas.microsoft.com/office/drawing/2014/main" id="{EF92779D-A6E3-450E-842E-68612714A06A}"/>
              </a:ext>
            </a:extLst>
          </p:cNvPr>
          <p:cNvCxnSpPr>
            <a:stCxn id="3" idx="3"/>
            <a:endCxn id="5" idx="0"/>
          </p:cNvCxnSpPr>
          <p:nvPr>
            <p:custDataLst>
              <p:tags r:id="rId2"/>
            </p:custDataLst>
          </p:nvPr>
        </p:nvCxnSpPr>
        <p:spPr>
          <a:xfrm>
            <a:off x="6096000" y="1881187"/>
            <a:ext cx="985837" cy="421480"/>
          </a:xfrm>
          <a:prstGeom prst="bentConnector2">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180E3D2-52E0-474B-936A-4EF42C619E54}"/>
              </a:ext>
            </a:extLst>
          </p:cNvPr>
          <p:cNvCxnSpPr>
            <a:stCxn id="5" idx="2"/>
          </p:cNvCxnSpPr>
          <p:nvPr>
            <p:custDataLst>
              <p:tags r:id="rId3"/>
            </p:custDataLst>
          </p:nvPr>
        </p:nvCxnSpPr>
        <p:spPr>
          <a:xfrm>
            <a:off x="7081837" y="2902742"/>
            <a:ext cx="0" cy="76438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46CFE04-69E8-4500-BB85-1D3FD275EEE1}"/>
              </a:ext>
            </a:extLst>
          </p:cNvPr>
          <p:cNvCxnSpPr/>
          <p:nvPr>
            <p:custDataLst>
              <p:tags r:id="rId4"/>
            </p:custDataLst>
          </p:nvPr>
        </p:nvCxnSpPr>
        <p:spPr>
          <a:xfrm>
            <a:off x="3419473" y="2902742"/>
            <a:ext cx="0" cy="76438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2" name="Connector: Elbow 31">
            <a:extLst>
              <a:ext uri="{FF2B5EF4-FFF2-40B4-BE49-F238E27FC236}">
                <a16:creationId xmlns:a16="http://schemas.microsoft.com/office/drawing/2014/main" id="{915CBA8D-BC6B-4EA2-9D89-59B3ED6F2FDA}"/>
              </a:ext>
            </a:extLst>
          </p:cNvPr>
          <p:cNvCxnSpPr>
            <a:cxnSpLocks/>
            <a:stCxn id="4" idx="1"/>
            <a:endCxn id="16" idx="0"/>
          </p:cNvCxnSpPr>
          <p:nvPr>
            <p:custDataLst>
              <p:tags r:id="rId5"/>
            </p:custDataLst>
          </p:nvPr>
        </p:nvCxnSpPr>
        <p:spPr>
          <a:xfrm rot="10800000" flipV="1">
            <a:off x="1624013" y="2602704"/>
            <a:ext cx="938216" cy="1064417"/>
          </a:xfrm>
          <a:prstGeom prst="bentConnector2">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1C5F7BC6-7622-4292-8771-8274BBE590BF}"/>
              </a:ext>
            </a:extLst>
          </p:cNvPr>
          <p:cNvCxnSpPr>
            <a:cxnSpLocks/>
            <a:stCxn id="34" idx="3"/>
          </p:cNvCxnSpPr>
          <p:nvPr>
            <p:custDataLst>
              <p:tags r:id="rId6"/>
            </p:custDataLst>
          </p:nvPr>
        </p:nvCxnSpPr>
        <p:spPr>
          <a:xfrm>
            <a:off x="4362450" y="4729163"/>
            <a:ext cx="1800224" cy="0"/>
          </a:xfrm>
          <a:prstGeom prst="line">
            <a:avLst/>
          </a:prstGeom>
          <a:ln w="28575">
            <a:solidFill>
              <a:schemeClr val="accent5"/>
            </a:solidFill>
            <a:prstDash val="sysDash"/>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7FA0AFF2-4F4F-47AF-B9C8-571D0131DD7F}"/>
              </a:ext>
            </a:extLst>
          </p:cNvPr>
          <p:cNvSpPr>
            <a:spLocks noGrp="1"/>
          </p:cNvSpPr>
          <p:nvPr>
            <p:ph type="title"/>
            <p:custDataLst>
              <p:tags r:id="rId7"/>
            </p:custDataLst>
          </p:nvPr>
        </p:nvSpPr>
        <p:spPr/>
        <p:txBody>
          <a:bodyPr/>
          <a:lstStyle/>
          <a:p>
            <a:pPr algn="l" rtl="0"/>
            <a:r>
              <a:rPr lang="fr-ca" b="1" i="0" u="none" baseline="0"/>
              <a:t>L’équipe de projet intégrée</a:t>
            </a:r>
            <a:endParaRPr lang="fr-ca" dirty="0"/>
          </a:p>
        </p:txBody>
      </p:sp>
      <p:sp>
        <p:nvSpPr>
          <p:cNvPr id="3" name="Rectangle 2">
            <a:extLst>
              <a:ext uri="{FF2B5EF4-FFF2-40B4-BE49-F238E27FC236}">
                <a16:creationId xmlns:a16="http://schemas.microsoft.com/office/drawing/2014/main" id="{948F8BF9-2720-4A92-9EA6-FE7C5C99841A}"/>
              </a:ext>
            </a:extLst>
          </p:cNvPr>
          <p:cNvSpPr/>
          <p:nvPr>
            <p:custDataLst>
              <p:tags r:id="rId8"/>
            </p:custDataLst>
          </p:nvPr>
        </p:nvSpPr>
        <p:spPr>
          <a:xfrm>
            <a:off x="4429125" y="1581149"/>
            <a:ext cx="1666875" cy="6000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ca" sz="1400" b="0" i="0" u="none" baseline="0" dirty="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Cadre supérieur</a:t>
            </a:r>
            <a:endParaRPr lang="fr-ca" sz="1400" dirty="0">
              <a:solidFill>
                <a:schemeClr val="tx1"/>
              </a:solidFill>
              <a:latin typeface="Arial" panose="020B0604020202020204" pitchFamily="34" charset="0"/>
              <a:cs typeface="Arial" panose="020B0604020202020204" pitchFamily="34" charset="0"/>
            </a:endParaRPr>
          </a:p>
        </p:txBody>
      </p:sp>
      <p:sp>
        <p:nvSpPr>
          <p:cNvPr id="4" name="Rectangle 3">
            <a:extLst>
              <a:ext uri="{FF2B5EF4-FFF2-40B4-BE49-F238E27FC236}">
                <a16:creationId xmlns:a16="http://schemas.microsoft.com/office/drawing/2014/main" id="{72A04E73-B020-430F-B7D1-BD2587DC071A}"/>
              </a:ext>
            </a:extLst>
          </p:cNvPr>
          <p:cNvSpPr/>
          <p:nvPr>
            <p:custDataLst>
              <p:tags r:id="rId9"/>
            </p:custDataLst>
          </p:nvPr>
        </p:nvSpPr>
        <p:spPr>
          <a:xfrm>
            <a:off x="2562229" y="2302667"/>
            <a:ext cx="1800222" cy="6000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ca" sz="1400" b="0" i="0" u="none" baseline="0" dirty="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Gestionnaire de projet ou intégrateur</a:t>
            </a:r>
            <a:endParaRPr lang="fr-ca" sz="1400" dirty="0">
              <a:solidFill>
                <a:schemeClr val="tx1"/>
              </a:solidFill>
              <a:latin typeface="Arial" panose="020B0604020202020204" pitchFamily="34" charset="0"/>
              <a:cs typeface="Arial" panose="020B0604020202020204" pitchFamily="34" charset="0"/>
            </a:endParaRPr>
          </a:p>
        </p:txBody>
      </p:sp>
      <p:sp>
        <p:nvSpPr>
          <p:cNvPr id="5" name="Rectangle 4">
            <a:extLst>
              <a:ext uri="{FF2B5EF4-FFF2-40B4-BE49-F238E27FC236}">
                <a16:creationId xmlns:a16="http://schemas.microsoft.com/office/drawing/2014/main" id="{8E4B4D27-4F4B-47A5-8E2A-141B14E9DA46}"/>
              </a:ext>
            </a:extLst>
          </p:cNvPr>
          <p:cNvSpPr/>
          <p:nvPr>
            <p:custDataLst>
              <p:tags r:id="rId10"/>
            </p:custDataLst>
          </p:nvPr>
        </p:nvSpPr>
        <p:spPr>
          <a:xfrm>
            <a:off x="6248399" y="2302667"/>
            <a:ext cx="1666875" cy="60007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ca" sz="1400" b="0" i="0" u="none" baseline="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Gestionnaire de changement</a:t>
            </a:r>
            <a:endParaRPr lang="fr-ca" sz="1400" dirty="0">
              <a:solidFill>
                <a:schemeClr val="tx1"/>
              </a:solidFill>
              <a:latin typeface="Arial" panose="020B0604020202020204" pitchFamily="34" charset="0"/>
              <a:cs typeface="Arial" panose="020B0604020202020204" pitchFamily="34" charset="0"/>
            </a:endParaRPr>
          </a:p>
        </p:txBody>
      </p:sp>
      <p:sp>
        <p:nvSpPr>
          <p:cNvPr id="6" name="Rectangle 5">
            <a:extLst>
              <a:ext uri="{FF2B5EF4-FFF2-40B4-BE49-F238E27FC236}">
                <a16:creationId xmlns:a16="http://schemas.microsoft.com/office/drawing/2014/main" id="{ECBE23CC-DF90-48A7-819F-B77A17F3AF3C}"/>
              </a:ext>
            </a:extLst>
          </p:cNvPr>
          <p:cNvSpPr/>
          <p:nvPr>
            <p:custDataLst>
              <p:tags r:id="rId11"/>
            </p:custDataLst>
          </p:nvPr>
        </p:nvSpPr>
        <p:spPr>
          <a:xfrm>
            <a:off x="6248400" y="3667122"/>
            <a:ext cx="5266704" cy="600075"/>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ca" sz="1400" b="0" i="0" u="none" baseline="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Réseau d’agents de changement</a:t>
            </a:r>
            <a:endParaRPr lang="fr-ca" sz="1400" dirty="0">
              <a:solidFill>
                <a:schemeClr val="tx1"/>
              </a:solidFill>
              <a:latin typeface="Arial" panose="020B0604020202020204" pitchFamily="34" charset="0"/>
              <a:cs typeface="Arial" panose="020B0604020202020204" pitchFamily="34" charset="0"/>
            </a:endParaRPr>
          </a:p>
        </p:txBody>
      </p:sp>
      <p:sp>
        <p:nvSpPr>
          <p:cNvPr id="7" name="Rectangle 6">
            <a:extLst>
              <a:ext uri="{FF2B5EF4-FFF2-40B4-BE49-F238E27FC236}">
                <a16:creationId xmlns:a16="http://schemas.microsoft.com/office/drawing/2014/main" id="{6855D7E2-5A44-47EE-B1AE-CA349032244E}"/>
              </a:ext>
            </a:extLst>
          </p:cNvPr>
          <p:cNvSpPr/>
          <p:nvPr>
            <p:custDataLst>
              <p:tags r:id="rId12"/>
            </p:custDataLst>
          </p:nvPr>
        </p:nvSpPr>
        <p:spPr>
          <a:xfrm>
            <a:off x="6248400" y="4419598"/>
            <a:ext cx="1666875" cy="1381127"/>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ca" sz="1400" b="0" i="0" u="none" baseline="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Agent de changement 1 (Direction générale 1)</a:t>
            </a:r>
            <a:endParaRPr lang="fr-ca" sz="1400" dirty="0">
              <a:solidFill>
                <a:schemeClr val="tx1"/>
              </a:solidFill>
              <a:latin typeface="Arial" panose="020B0604020202020204" pitchFamily="34" charset="0"/>
              <a:cs typeface="Arial" panose="020B0604020202020204" pitchFamily="34" charset="0"/>
            </a:endParaRPr>
          </a:p>
        </p:txBody>
      </p:sp>
      <p:sp>
        <p:nvSpPr>
          <p:cNvPr id="15" name="Rectangle 14">
            <a:extLst>
              <a:ext uri="{FF2B5EF4-FFF2-40B4-BE49-F238E27FC236}">
                <a16:creationId xmlns:a16="http://schemas.microsoft.com/office/drawing/2014/main" id="{D9D0D4E4-8BAF-4ADD-A82C-8516B9F513FA}"/>
              </a:ext>
            </a:extLst>
          </p:cNvPr>
          <p:cNvSpPr/>
          <p:nvPr>
            <p:custDataLst>
              <p:tags r:id="rId13"/>
            </p:custDataLst>
          </p:nvPr>
        </p:nvSpPr>
        <p:spPr>
          <a:xfrm>
            <a:off x="2609850" y="3667122"/>
            <a:ext cx="1666875" cy="600075"/>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ca" sz="1400" b="0" i="0" u="none" baseline="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Aménagement intérieur</a:t>
            </a:r>
            <a:endParaRPr lang="fr-ca" sz="1400" dirty="0">
              <a:solidFill>
                <a:schemeClr val="tx1"/>
              </a:solidFill>
              <a:latin typeface="Arial" panose="020B0604020202020204" pitchFamily="34" charset="0"/>
              <a:cs typeface="Arial" panose="020B0604020202020204" pitchFamily="34" charset="0"/>
            </a:endParaRPr>
          </a:p>
        </p:txBody>
      </p:sp>
      <p:sp>
        <p:nvSpPr>
          <p:cNvPr id="16" name="Rectangle 15">
            <a:extLst>
              <a:ext uri="{FF2B5EF4-FFF2-40B4-BE49-F238E27FC236}">
                <a16:creationId xmlns:a16="http://schemas.microsoft.com/office/drawing/2014/main" id="{A63D0142-81CE-4BC9-97A8-EB824438C0AD}"/>
              </a:ext>
            </a:extLst>
          </p:cNvPr>
          <p:cNvSpPr/>
          <p:nvPr>
            <p:custDataLst>
              <p:tags r:id="rId14"/>
            </p:custDataLst>
          </p:nvPr>
        </p:nvSpPr>
        <p:spPr>
          <a:xfrm>
            <a:off x="790575" y="3667122"/>
            <a:ext cx="1666875" cy="600075"/>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ca" sz="1400" b="0" i="0" u="none" baseline="0" dirty="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Déclassement et relocalisation</a:t>
            </a:r>
            <a:endParaRPr lang="fr-ca" sz="1400" dirty="0">
              <a:solidFill>
                <a:schemeClr val="tx1"/>
              </a:solidFill>
              <a:latin typeface="Arial" panose="020B0604020202020204" pitchFamily="34" charset="0"/>
              <a:cs typeface="Arial" panose="020B0604020202020204" pitchFamily="34" charset="0"/>
            </a:endParaRPr>
          </a:p>
        </p:txBody>
      </p:sp>
      <p:sp>
        <p:nvSpPr>
          <p:cNvPr id="17" name="Rectangle 16">
            <a:extLst>
              <a:ext uri="{FF2B5EF4-FFF2-40B4-BE49-F238E27FC236}">
                <a16:creationId xmlns:a16="http://schemas.microsoft.com/office/drawing/2014/main" id="{53ED85B3-003B-4404-9E77-3C307EB6E8C6}"/>
              </a:ext>
            </a:extLst>
          </p:cNvPr>
          <p:cNvSpPr/>
          <p:nvPr>
            <p:custDataLst>
              <p:tags r:id="rId15"/>
            </p:custDataLst>
          </p:nvPr>
        </p:nvSpPr>
        <p:spPr>
          <a:xfrm>
            <a:off x="790575" y="4419598"/>
            <a:ext cx="1666875" cy="600075"/>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ca" sz="1400" b="0" i="0" u="none" baseline="0" dirty="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Capitaines du déménagement**</a:t>
            </a:r>
            <a:endParaRPr lang="fr-ca" sz="1400" dirty="0">
              <a:solidFill>
                <a:schemeClr val="tx1"/>
              </a:solidFill>
              <a:latin typeface="Arial" panose="020B0604020202020204" pitchFamily="34" charset="0"/>
              <a:cs typeface="Arial" panose="020B0604020202020204" pitchFamily="34" charset="0"/>
            </a:endParaRPr>
          </a:p>
        </p:txBody>
      </p:sp>
      <p:sp>
        <p:nvSpPr>
          <p:cNvPr id="18" name="Rectangle 17">
            <a:extLst>
              <a:ext uri="{FF2B5EF4-FFF2-40B4-BE49-F238E27FC236}">
                <a16:creationId xmlns:a16="http://schemas.microsoft.com/office/drawing/2014/main" id="{326A33C0-666F-475C-8209-42DEA3322146}"/>
              </a:ext>
            </a:extLst>
          </p:cNvPr>
          <p:cNvSpPr/>
          <p:nvPr>
            <p:custDataLst>
              <p:tags r:id="rId16"/>
            </p:custDataLst>
          </p:nvPr>
        </p:nvSpPr>
        <p:spPr>
          <a:xfrm>
            <a:off x="2609850" y="4419598"/>
            <a:ext cx="1666875" cy="600075"/>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ca" sz="1400" b="0" i="0" u="none" baseline="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Responsables des groupes de travail**</a:t>
            </a:r>
            <a:endParaRPr lang="fr-ca" sz="1400" dirty="0">
              <a:solidFill>
                <a:schemeClr val="tx1"/>
              </a:solidFill>
              <a:latin typeface="Arial" panose="020B0604020202020204" pitchFamily="34" charset="0"/>
              <a:cs typeface="Arial" panose="020B0604020202020204" pitchFamily="34" charset="0"/>
            </a:endParaRPr>
          </a:p>
        </p:txBody>
      </p:sp>
      <p:sp>
        <p:nvSpPr>
          <p:cNvPr id="19" name="Rectangle 18">
            <a:extLst>
              <a:ext uri="{FF2B5EF4-FFF2-40B4-BE49-F238E27FC236}">
                <a16:creationId xmlns:a16="http://schemas.microsoft.com/office/drawing/2014/main" id="{A6AB9BC4-8F56-4540-8351-30B51A4EF9F6}"/>
              </a:ext>
            </a:extLst>
          </p:cNvPr>
          <p:cNvSpPr/>
          <p:nvPr>
            <p:custDataLst>
              <p:tags r:id="rId17"/>
            </p:custDataLst>
          </p:nvPr>
        </p:nvSpPr>
        <p:spPr>
          <a:xfrm>
            <a:off x="8067675" y="4419598"/>
            <a:ext cx="1666875" cy="1381127"/>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ca" sz="1400" b="0" i="0" u="none" baseline="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Agent de changement 2 (Direction générale 2)</a:t>
            </a:r>
            <a:endParaRPr lang="fr-ca" sz="1400" dirty="0">
              <a:solidFill>
                <a:schemeClr val="tx1"/>
              </a:solidFill>
              <a:latin typeface="Arial" panose="020B0604020202020204" pitchFamily="34" charset="0"/>
              <a:cs typeface="Arial" panose="020B0604020202020204" pitchFamily="34" charset="0"/>
            </a:endParaRPr>
          </a:p>
        </p:txBody>
      </p:sp>
      <p:sp>
        <p:nvSpPr>
          <p:cNvPr id="20" name="Rectangle 19">
            <a:extLst>
              <a:ext uri="{FF2B5EF4-FFF2-40B4-BE49-F238E27FC236}">
                <a16:creationId xmlns:a16="http://schemas.microsoft.com/office/drawing/2014/main" id="{2322AF5B-DA29-408B-9154-12278CA944A8}"/>
              </a:ext>
            </a:extLst>
          </p:cNvPr>
          <p:cNvSpPr/>
          <p:nvPr>
            <p:custDataLst>
              <p:tags r:id="rId18"/>
            </p:custDataLst>
          </p:nvPr>
        </p:nvSpPr>
        <p:spPr>
          <a:xfrm>
            <a:off x="9886948" y="4419598"/>
            <a:ext cx="1666875" cy="1381127"/>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ca" sz="1400" b="0" i="0" u="none" baseline="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Agent de changement 3* (Direction générale 3)</a:t>
            </a:r>
            <a:endParaRPr lang="fr-ca" sz="1400" dirty="0">
              <a:solidFill>
                <a:schemeClr val="tx1"/>
              </a:solidFill>
              <a:latin typeface="Arial" panose="020B0604020202020204" pitchFamily="34" charset="0"/>
              <a:cs typeface="Arial" panose="020B0604020202020204" pitchFamily="34" charset="0"/>
            </a:endParaRPr>
          </a:p>
        </p:txBody>
      </p:sp>
      <p:sp>
        <p:nvSpPr>
          <p:cNvPr id="34" name="Rectangle 33">
            <a:extLst>
              <a:ext uri="{FF2B5EF4-FFF2-40B4-BE49-F238E27FC236}">
                <a16:creationId xmlns:a16="http://schemas.microsoft.com/office/drawing/2014/main" id="{17BC07B6-7726-4827-8D5B-3AE18349D20F}"/>
              </a:ext>
            </a:extLst>
          </p:cNvPr>
          <p:cNvSpPr/>
          <p:nvPr>
            <p:custDataLst>
              <p:tags r:id="rId19"/>
            </p:custDataLst>
          </p:nvPr>
        </p:nvSpPr>
        <p:spPr>
          <a:xfrm>
            <a:off x="714375" y="4343400"/>
            <a:ext cx="3648075" cy="771525"/>
          </a:xfrm>
          <a:prstGeom prst="rect">
            <a:avLst/>
          </a:prstGeom>
          <a:noFill/>
          <a:ln w="28575">
            <a:solidFill>
              <a:schemeClr val="accent5"/>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a:p>
        </p:txBody>
      </p:sp>
      <p:sp>
        <p:nvSpPr>
          <p:cNvPr id="35" name="Rectangle 34">
            <a:extLst>
              <a:ext uri="{FF2B5EF4-FFF2-40B4-BE49-F238E27FC236}">
                <a16:creationId xmlns:a16="http://schemas.microsoft.com/office/drawing/2014/main" id="{FC48BFA9-22FE-4CB2-8C0E-3EE2BF8588F7}"/>
              </a:ext>
            </a:extLst>
          </p:cNvPr>
          <p:cNvSpPr/>
          <p:nvPr>
            <p:custDataLst>
              <p:tags r:id="rId20"/>
            </p:custDataLst>
          </p:nvPr>
        </p:nvSpPr>
        <p:spPr>
          <a:xfrm>
            <a:off x="6162674" y="4343400"/>
            <a:ext cx="5486401" cy="1543050"/>
          </a:xfrm>
          <a:prstGeom prst="rect">
            <a:avLst/>
          </a:prstGeom>
          <a:noFill/>
          <a:ln w="28575">
            <a:solidFill>
              <a:schemeClr val="accent5"/>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a:p>
        </p:txBody>
      </p:sp>
      <p:cxnSp>
        <p:nvCxnSpPr>
          <p:cNvPr id="44" name="Straight Connector 43">
            <a:extLst>
              <a:ext uri="{FF2B5EF4-FFF2-40B4-BE49-F238E27FC236}">
                <a16:creationId xmlns:a16="http://schemas.microsoft.com/office/drawing/2014/main" id="{D548AE6E-0BE1-4A29-8CA2-32009CA60602}"/>
              </a:ext>
            </a:extLst>
          </p:cNvPr>
          <p:cNvCxnSpPr>
            <a:cxnSpLocks/>
            <a:stCxn id="4" idx="3"/>
            <a:endCxn id="5" idx="1"/>
          </p:cNvCxnSpPr>
          <p:nvPr>
            <p:custDataLst>
              <p:tags r:id="rId21"/>
            </p:custDataLst>
          </p:nvPr>
        </p:nvCxnSpPr>
        <p:spPr>
          <a:xfrm>
            <a:off x="4362451" y="2602705"/>
            <a:ext cx="1885948" cy="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E451E7E2-1BFA-4D8D-9CC2-9377164DA726}"/>
              </a:ext>
            </a:extLst>
          </p:cNvPr>
          <p:cNvCxnSpPr>
            <a:cxnSpLocks/>
            <a:stCxn id="4" idx="1"/>
          </p:cNvCxnSpPr>
          <p:nvPr>
            <p:custDataLst>
              <p:tags r:id="rId22"/>
            </p:custDataLst>
          </p:nvPr>
        </p:nvCxnSpPr>
        <p:spPr>
          <a:xfrm>
            <a:off x="2562229" y="2602705"/>
            <a:ext cx="47619"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5F5BDE04-ED56-4F30-A6EB-3DE8BEA1D88A}"/>
              </a:ext>
            </a:extLst>
          </p:cNvPr>
          <p:cNvCxnSpPr>
            <a:cxnSpLocks/>
          </p:cNvCxnSpPr>
          <p:nvPr>
            <p:custDataLst>
              <p:tags r:id="rId23"/>
            </p:custDataLst>
          </p:nvPr>
        </p:nvCxnSpPr>
        <p:spPr>
          <a:xfrm>
            <a:off x="216626" y="5245923"/>
            <a:ext cx="5064034" cy="0"/>
          </a:xfrm>
          <a:prstGeom prst="line">
            <a:avLst/>
          </a:prstGeom>
        </p:spPr>
        <p:style>
          <a:lnRef idx="1">
            <a:schemeClr val="dk1"/>
          </a:lnRef>
          <a:fillRef idx="0">
            <a:schemeClr val="dk1"/>
          </a:fillRef>
          <a:effectRef idx="0">
            <a:schemeClr val="dk1"/>
          </a:effectRef>
          <a:fontRef idx="minor">
            <a:schemeClr val="tx1"/>
          </a:fontRef>
        </p:style>
      </p:cxnSp>
      <p:sp>
        <p:nvSpPr>
          <p:cNvPr id="31" name="TextBox 30">
            <a:extLst>
              <a:ext uri="{FF2B5EF4-FFF2-40B4-BE49-F238E27FC236}">
                <a16:creationId xmlns:a16="http://schemas.microsoft.com/office/drawing/2014/main" id="{58ADC667-B6EF-4B6B-A7E0-B48A38EC760F}"/>
              </a:ext>
            </a:extLst>
          </p:cNvPr>
          <p:cNvSpPr txBox="1"/>
          <p:nvPr>
            <p:custDataLst>
              <p:tags r:id="rId24"/>
            </p:custDataLst>
          </p:nvPr>
        </p:nvSpPr>
        <p:spPr>
          <a:xfrm>
            <a:off x="167640" y="5237205"/>
            <a:ext cx="5918834" cy="1107996"/>
          </a:xfrm>
          <a:prstGeom prst="rect">
            <a:avLst/>
          </a:prstGeom>
          <a:noFill/>
        </p:spPr>
        <p:txBody>
          <a:bodyPr wrap="square" rtlCol="0">
            <a:spAutoFit/>
          </a:bodyPr>
          <a:lstStyle/>
          <a:p>
            <a:pPr algn="just" rtl="0"/>
            <a:r>
              <a:rPr lang="fr-ca" sz="1050" b="0" i="0" u="none" baseline="0" dirty="0"/>
              <a:t>*</a:t>
            </a:r>
            <a:r>
              <a:rPr lang="fr-ca" sz="1100" b="0" i="0" u="none" baseline="0" dirty="0"/>
              <a:t> </a:t>
            </a:r>
            <a:r>
              <a:rPr lang="fr-ca" sz="1050" b="0" i="0" u="none" baseline="0" dirty="0"/>
              <a:t>Idéalement, chaque direction générale ou division aura un représentant ou une représentante qui tiendra le rôle d’agent ou d’agente de changement, mais ce n’est pas obligatoire. Certaines directions générales ou divisions peuvent avoir besoin de plusieurs agents de changement.</a:t>
            </a:r>
          </a:p>
          <a:p>
            <a:pPr algn="just" rtl="0"/>
            <a:r>
              <a:rPr lang="fr-ca" sz="1050" b="0" i="0" u="none" baseline="0" dirty="0"/>
              <a:t>** Comme mentionné précédemment, certains rôles peuvent se chevaucher. Les responsables des groupes de travail ou les capitaines du déménagement pourraient devenir des agents de changement, car ils ont normalement une bonne compréhension de l’initiative de changement. </a:t>
            </a:r>
            <a:endParaRPr lang="fr-ca" sz="1050" dirty="0"/>
          </a:p>
        </p:txBody>
      </p:sp>
    </p:spTree>
    <p:extLst>
      <p:ext uri="{BB962C8B-B14F-4D97-AF65-F5344CB8AC3E}">
        <p14:creationId xmlns:p14="http://schemas.microsoft.com/office/powerpoint/2010/main" val="236595563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A0AFF2-4F4F-47AF-B9C8-571D0131DD7F}"/>
              </a:ext>
            </a:extLst>
          </p:cNvPr>
          <p:cNvSpPr>
            <a:spLocks noGrp="1"/>
          </p:cNvSpPr>
          <p:nvPr>
            <p:ph type="title"/>
            <p:custDataLst>
              <p:tags r:id="rId1"/>
            </p:custDataLst>
          </p:nvPr>
        </p:nvSpPr>
        <p:spPr/>
        <p:txBody>
          <a:bodyPr/>
          <a:lstStyle/>
          <a:p>
            <a:pPr algn="l" rtl="0"/>
            <a:r>
              <a:rPr lang="fr-ca" b="1" i="0" u="none" baseline="0" dirty="0"/>
              <a:t>Quand faire appel à des agents de changement</a:t>
            </a:r>
            <a:endParaRPr lang="fr-ca" dirty="0"/>
          </a:p>
        </p:txBody>
      </p:sp>
      <p:grpSp>
        <p:nvGrpSpPr>
          <p:cNvPr id="21" name="Group 20">
            <a:extLst>
              <a:ext uri="{FF2B5EF4-FFF2-40B4-BE49-F238E27FC236}">
                <a16:creationId xmlns:a16="http://schemas.microsoft.com/office/drawing/2014/main" id="{FE23C5E2-A220-4C68-9885-282C3750BE94}"/>
              </a:ext>
            </a:extLst>
          </p:cNvPr>
          <p:cNvGrpSpPr/>
          <p:nvPr>
            <p:custDataLst>
              <p:tags r:id="rId2"/>
            </p:custDataLst>
          </p:nvPr>
        </p:nvGrpSpPr>
        <p:grpSpPr>
          <a:xfrm>
            <a:off x="0" y="1569945"/>
            <a:ext cx="12192000" cy="1446550"/>
            <a:chOff x="0" y="3193005"/>
            <a:chExt cx="12192000" cy="1446550"/>
          </a:xfrm>
        </p:grpSpPr>
        <p:sp>
          <p:nvSpPr>
            <p:cNvPr id="12" name="Rectangle 11">
              <a:extLst>
                <a:ext uri="{FF2B5EF4-FFF2-40B4-BE49-F238E27FC236}">
                  <a16:creationId xmlns:a16="http://schemas.microsoft.com/office/drawing/2014/main" id="{7B24B1CF-9BC0-4640-8EE6-95B9B08DB743}"/>
                </a:ext>
              </a:extLst>
            </p:cNvPr>
            <p:cNvSpPr/>
            <p:nvPr/>
          </p:nvSpPr>
          <p:spPr>
            <a:xfrm>
              <a:off x="0" y="3429000"/>
              <a:ext cx="12192000" cy="835027"/>
            </a:xfrm>
            <a:prstGeom prst="rect">
              <a:avLst/>
            </a:prstGeom>
            <a:gradFill flip="none" rotWithShape="1">
              <a:gsLst>
                <a:gs pos="0">
                  <a:schemeClr val="accent5"/>
                </a:gs>
                <a:gs pos="25000">
                  <a:schemeClr val="accent2"/>
                </a:gs>
                <a:gs pos="74000">
                  <a:schemeClr val="accent1"/>
                </a:gs>
                <a:gs pos="51000">
                  <a:srgbClr val="329E70"/>
                </a:gs>
                <a:gs pos="100000">
                  <a:schemeClr val="accent4"/>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a:p>
          </p:txBody>
        </p:sp>
        <p:sp>
          <p:nvSpPr>
            <p:cNvPr id="13" name="TextBox 12">
              <a:extLst>
                <a:ext uri="{FF2B5EF4-FFF2-40B4-BE49-F238E27FC236}">
                  <a16:creationId xmlns:a16="http://schemas.microsoft.com/office/drawing/2014/main" id="{E5559D41-58C0-473C-A7E3-A8AFCDBB7C5B}"/>
                </a:ext>
              </a:extLst>
            </p:cNvPr>
            <p:cNvSpPr txBox="1"/>
            <p:nvPr/>
          </p:nvSpPr>
          <p:spPr>
            <a:xfrm>
              <a:off x="344249" y="3554125"/>
              <a:ext cx="2552700" cy="584775"/>
            </a:xfrm>
            <a:prstGeom prst="rect">
              <a:avLst/>
            </a:prstGeom>
            <a:noFill/>
          </p:spPr>
          <p:txBody>
            <a:bodyPr wrap="square" rtlCol="0">
              <a:spAutoFit/>
            </a:bodyPr>
            <a:lstStyle/>
            <a:p>
              <a:pPr algn="ctr" rtl="0"/>
              <a:r>
                <a:rPr lang="fr-ca" sz="1600" b="0" i="0" u="none" baseline="0" dirty="0">
                  <a:solidFill>
                    <a:schemeClr val="bg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Approbation préalable</a:t>
              </a:r>
            </a:p>
            <a:p>
              <a:pPr algn="ctr" rtl="0"/>
              <a:r>
                <a:rPr lang="fr-ca" sz="1600" b="0" i="0" u="none" baseline="0" dirty="0">
                  <a:solidFill>
                    <a:schemeClr val="bg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 1 à 2 mois</a:t>
              </a:r>
              <a:endParaRPr lang="fr-ca" sz="1600" dirty="0">
                <a:solidFill>
                  <a:schemeClr val="bg1"/>
                </a:solidFill>
                <a:latin typeface="Arial" panose="020B0604020202020204" pitchFamily="34" charset="0"/>
                <a:cs typeface="Arial" panose="020B0604020202020204" pitchFamily="34" charset="0"/>
              </a:endParaRPr>
            </a:p>
          </p:txBody>
        </p:sp>
        <p:sp>
          <p:nvSpPr>
            <p:cNvPr id="14" name="TextBox 13">
              <a:extLst>
                <a:ext uri="{FF2B5EF4-FFF2-40B4-BE49-F238E27FC236}">
                  <a16:creationId xmlns:a16="http://schemas.microsoft.com/office/drawing/2014/main" id="{796A8748-64CB-4B14-BA23-358D21513E8D}"/>
                </a:ext>
              </a:extLst>
            </p:cNvPr>
            <p:cNvSpPr txBox="1"/>
            <p:nvPr/>
          </p:nvSpPr>
          <p:spPr>
            <a:xfrm>
              <a:off x="3373643" y="3491370"/>
              <a:ext cx="2552700" cy="830997"/>
            </a:xfrm>
            <a:prstGeom prst="rect">
              <a:avLst/>
            </a:prstGeom>
            <a:noFill/>
          </p:spPr>
          <p:txBody>
            <a:bodyPr wrap="square" rtlCol="0">
              <a:spAutoFit/>
            </a:bodyPr>
            <a:lstStyle/>
            <a:p>
              <a:pPr algn="ctr" rtl="0"/>
              <a:r>
                <a:rPr lang="fr-ca" sz="1600" b="0" i="0" u="none" baseline="0" dirty="0">
                  <a:solidFill>
                    <a:schemeClr val="bg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Planification préliminaire et planification</a:t>
              </a:r>
            </a:p>
            <a:p>
              <a:pPr algn="ctr" rtl="0"/>
              <a:r>
                <a:rPr lang="fr-ca" sz="1600" b="0" i="0" u="none" baseline="0" dirty="0">
                  <a:solidFill>
                    <a:schemeClr val="bg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 ~ 1 à 2 mois</a:t>
              </a:r>
              <a:endParaRPr lang="fr-ca" sz="1600" dirty="0">
                <a:solidFill>
                  <a:schemeClr val="bg1"/>
                </a:solidFill>
                <a:latin typeface="Arial" panose="020B0604020202020204" pitchFamily="34" charset="0"/>
                <a:cs typeface="Arial" panose="020B0604020202020204" pitchFamily="34" charset="0"/>
              </a:endParaRPr>
            </a:p>
          </p:txBody>
        </p:sp>
        <p:sp>
          <p:nvSpPr>
            <p:cNvPr id="15" name="TextBox 14">
              <a:extLst>
                <a:ext uri="{FF2B5EF4-FFF2-40B4-BE49-F238E27FC236}">
                  <a16:creationId xmlns:a16="http://schemas.microsoft.com/office/drawing/2014/main" id="{72E8F0EC-AFB1-4333-BDAD-8AF333192781}"/>
                </a:ext>
              </a:extLst>
            </p:cNvPr>
            <p:cNvSpPr txBox="1"/>
            <p:nvPr/>
          </p:nvSpPr>
          <p:spPr>
            <a:xfrm>
              <a:off x="6365240" y="3554125"/>
              <a:ext cx="2552700" cy="584775"/>
            </a:xfrm>
            <a:prstGeom prst="rect">
              <a:avLst/>
            </a:prstGeom>
            <a:noFill/>
          </p:spPr>
          <p:txBody>
            <a:bodyPr wrap="square" rtlCol="0">
              <a:spAutoFit/>
            </a:bodyPr>
            <a:lstStyle/>
            <a:p>
              <a:pPr algn="ctr" rtl="0"/>
              <a:r>
                <a:rPr lang="fr-ca" sz="1600" b="0" i="0" u="none" baseline="0" dirty="0">
                  <a:solidFill>
                    <a:schemeClr val="bg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Mise en œuvre</a:t>
              </a:r>
            </a:p>
            <a:p>
              <a:pPr algn="ctr" rtl="0"/>
              <a:r>
                <a:rPr lang="fr-ca" sz="1600" b="0" i="0" u="none" baseline="0" dirty="0">
                  <a:solidFill>
                    <a:schemeClr val="bg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 4 à 12 mois</a:t>
              </a:r>
              <a:endParaRPr lang="fr-ca" sz="1600" dirty="0">
                <a:solidFill>
                  <a:schemeClr val="bg1"/>
                </a:solidFill>
                <a:latin typeface="Arial" panose="020B0604020202020204" pitchFamily="34" charset="0"/>
                <a:cs typeface="Arial" panose="020B0604020202020204" pitchFamily="34" charset="0"/>
              </a:endParaRPr>
            </a:p>
          </p:txBody>
        </p:sp>
        <p:sp>
          <p:nvSpPr>
            <p:cNvPr id="16" name="TextBox 15">
              <a:extLst>
                <a:ext uri="{FF2B5EF4-FFF2-40B4-BE49-F238E27FC236}">
                  <a16:creationId xmlns:a16="http://schemas.microsoft.com/office/drawing/2014/main" id="{B0D7991E-D4E3-453B-94DD-45806DAB45F6}"/>
                </a:ext>
              </a:extLst>
            </p:cNvPr>
            <p:cNvSpPr txBox="1"/>
            <p:nvPr/>
          </p:nvSpPr>
          <p:spPr>
            <a:xfrm>
              <a:off x="9483315" y="3554125"/>
              <a:ext cx="2552700" cy="584775"/>
            </a:xfrm>
            <a:prstGeom prst="rect">
              <a:avLst/>
            </a:prstGeom>
            <a:noFill/>
          </p:spPr>
          <p:txBody>
            <a:bodyPr wrap="square" rtlCol="0">
              <a:spAutoFit/>
            </a:bodyPr>
            <a:lstStyle/>
            <a:p>
              <a:pPr algn="ctr" rtl="0"/>
              <a:r>
                <a:rPr lang="fr-ca" sz="1600" b="0" i="0" u="none" baseline="0" dirty="0">
                  <a:solidFill>
                    <a:schemeClr val="bg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Après l’emménagement</a:t>
              </a:r>
            </a:p>
            <a:p>
              <a:pPr algn="ctr" rtl="0"/>
              <a:r>
                <a:rPr lang="fr-ca" sz="1600" b="0" i="0" u="none" baseline="0" dirty="0">
                  <a:solidFill>
                    <a:schemeClr val="bg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 3 à 12 mois</a:t>
              </a:r>
            </a:p>
          </p:txBody>
        </p:sp>
        <p:sp>
          <p:nvSpPr>
            <p:cNvPr id="17" name="TextBox 16">
              <a:extLst>
                <a:ext uri="{FF2B5EF4-FFF2-40B4-BE49-F238E27FC236}">
                  <a16:creationId xmlns:a16="http://schemas.microsoft.com/office/drawing/2014/main" id="{9CA83D09-BF55-4F14-BCCD-9A4F04E48810}"/>
                </a:ext>
              </a:extLst>
            </p:cNvPr>
            <p:cNvSpPr txBox="1"/>
            <p:nvPr/>
          </p:nvSpPr>
          <p:spPr>
            <a:xfrm>
              <a:off x="104899" y="3193005"/>
              <a:ext cx="701040" cy="1446550"/>
            </a:xfrm>
            <a:prstGeom prst="rect">
              <a:avLst/>
            </a:prstGeom>
            <a:noFill/>
          </p:spPr>
          <p:txBody>
            <a:bodyPr wrap="square" rtlCol="0">
              <a:spAutoFit/>
            </a:bodyPr>
            <a:lstStyle/>
            <a:p>
              <a:pPr algn="l" rtl="0"/>
              <a:r>
                <a:rPr lang="fr-ca" sz="8800" b="0" i="0" u="none" baseline="0">
                  <a:solidFill>
                    <a:schemeClr val="bg1"/>
                  </a:solidFill>
                </a:rPr>
                <a:t>1</a:t>
              </a:r>
              <a:endParaRPr lang="fr-ca" sz="8800" dirty="0">
                <a:solidFill>
                  <a:schemeClr val="bg1"/>
                </a:solidFill>
              </a:endParaRPr>
            </a:p>
          </p:txBody>
        </p:sp>
        <p:sp>
          <p:nvSpPr>
            <p:cNvPr id="18" name="TextBox 17">
              <a:extLst>
                <a:ext uri="{FF2B5EF4-FFF2-40B4-BE49-F238E27FC236}">
                  <a16:creationId xmlns:a16="http://schemas.microsoft.com/office/drawing/2014/main" id="{1890392F-41F2-49D6-AC5B-477E533A23CA}"/>
                </a:ext>
              </a:extLst>
            </p:cNvPr>
            <p:cNvSpPr txBox="1"/>
            <p:nvPr/>
          </p:nvSpPr>
          <p:spPr>
            <a:xfrm>
              <a:off x="2787139" y="3193005"/>
              <a:ext cx="701040" cy="1446550"/>
            </a:xfrm>
            <a:prstGeom prst="rect">
              <a:avLst/>
            </a:prstGeom>
            <a:noFill/>
          </p:spPr>
          <p:txBody>
            <a:bodyPr wrap="square" rtlCol="0">
              <a:spAutoFit/>
            </a:bodyPr>
            <a:lstStyle/>
            <a:p>
              <a:pPr algn="l" rtl="0"/>
              <a:r>
                <a:rPr lang="fr-ca" sz="8800" b="0" i="0" u="none" baseline="0">
                  <a:solidFill>
                    <a:schemeClr val="bg1"/>
                  </a:solidFill>
                </a:rPr>
                <a:t>2</a:t>
              </a:r>
              <a:endParaRPr lang="fr-ca" sz="8800" dirty="0">
                <a:solidFill>
                  <a:schemeClr val="bg1"/>
                </a:solidFill>
              </a:endParaRPr>
            </a:p>
          </p:txBody>
        </p:sp>
        <p:sp>
          <p:nvSpPr>
            <p:cNvPr id="19" name="TextBox 18">
              <a:extLst>
                <a:ext uri="{FF2B5EF4-FFF2-40B4-BE49-F238E27FC236}">
                  <a16:creationId xmlns:a16="http://schemas.microsoft.com/office/drawing/2014/main" id="{C3DB2840-CFE5-400D-8074-B58CFA64BC66}"/>
                </a:ext>
              </a:extLst>
            </p:cNvPr>
            <p:cNvSpPr txBox="1"/>
            <p:nvPr/>
          </p:nvSpPr>
          <p:spPr>
            <a:xfrm>
              <a:off x="6004560" y="3193005"/>
              <a:ext cx="701040" cy="1446550"/>
            </a:xfrm>
            <a:prstGeom prst="rect">
              <a:avLst/>
            </a:prstGeom>
            <a:noFill/>
          </p:spPr>
          <p:txBody>
            <a:bodyPr wrap="square" rtlCol="0">
              <a:spAutoFit/>
            </a:bodyPr>
            <a:lstStyle/>
            <a:p>
              <a:pPr algn="l" rtl="0"/>
              <a:r>
                <a:rPr lang="fr-ca" sz="8800" b="0" i="0" u="none" baseline="0">
                  <a:solidFill>
                    <a:schemeClr val="bg1"/>
                  </a:solidFill>
                </a:rPr>
                <a:t>3</a:t>
              </a:r>
              <a:endParaRPr lang="fr-ca" sz="8800" dirty="0">
                <a:solidFill>
                  <a:schemeClr val="bg1"/>
                </a:solidFill>
              </a:endParaRPr>
            </a:p>
          </p:txBody>
        </p:sp>
        <p:sp>
          <p:nvSpPr>
            <p:cNvPr id="20" name="TextBox 19">
              <a:extLst>
                <a:ext uri="{FF2B5EF4-FFF2-40B4-BE49-F238E27FC236}">
                  <a16:creationId xmlns:a16="http://schemas.microsoft.com/office/drawing/2014/main" id="{56241A2C-3907-4F2F-A2E7-C064580EAF73}"/>
                </a:ext>
              </a:extLst>
            </p:cNvPr>
            <p:cNvSpPr txBox="1"/>
            <p:nvPr/>
          </p:nvSpPr>
          <p:spPr>
            <a:xfrm>
              <a:off x="9022080" y="3193005"/>
              <a:ext cx="701040" cy="1446550"/>
            </a:xfrm>
            <a:prstGeom prst="rect">
              <a:avLst/>
            </a:prstGeom>
            <a:noFill/>
          </p:spPr>
          <p:txBody>
            <a:bodyPr wrap="square" rtlCol="0">
              <a:spAutoFit/>
            </a:bodyPr>
            <a:lstStyle/>
            <a:p>
              <a:pPr algn="l" rtl="0"/>
              <a:r>
                <a:rPr lang="fr-ca" sz="8800" b="0" i="0" u="none" baseline="0">
                  <a:solidFill>
                    <a:schemeClr val="bg1"/>
                  </a:solidFill>
                </a:rPr>
                <a:t>4</a:t>
              </a:r>
              <a:endParaRPr lang="fr-ca" sz="8800" dirty="0">
                <a:solidFill>
                  <a:schemeClr val="bg1"/>
                </a:solidFill>
              </a:endParaRPr>
            </a:p>
          </p:txBody>
        </p:sp>
      </p:grpSp>
      <p:sp>
        <p:nvSpPr>
          <p:cNvPr id="22" name="TextBox 21">
            <a:extLst>
              <a:ext uri="{FF2B5EF4-FFF2-40B4-BE49-F238E27FC236}">
                <a16:creationId xmlns:a16="http://schemas.microsoft.com/office/drawing/2014/main" id="{2097B146-6041-47F1-9B2D-CED56DDF9C91}"/>
              </a:ext>
            </a:extLst>
          </p:cNvPr>
          <p:cNvSpPr txBox="1"/>
          <p:nvPr>
            <p:custDataLst>
              <p:tags r:id="rId3"/>
            </p:custDataLst>
          </p:nvPr>
        </p:nvSpPr>
        <p:spPr>
          <a:xfrm>
            <a:off x="3025305" y="2699307"/>
            <a:ext cx="2805941" cy="3754874"/>
          </a:xfrm>
          <a:prstGeom prst="rect">
            <a:avLst/>
          </a:prstGeom>
          <a:noFill/>
        </p:spPr>
        <p:txBody>
          <a:bodyPr wrap="square" rtlCol="0">
            <a:spAutoFit/>
          </a:bodyPr>
          <a:lstStyle/>
          <a:p>
            <a:pPr marL="285750" indent="-285750" algn="l" rtl="0">
              <a:buFont typeface="Arial" panose="020B0604020202020204" pitchFamily="34" charset="0"/>
              <a:buChar char="•"/>
            </a:pPr>
            <a:r>
              <a:rPr lang="fr-ca" sz="1400" b="0" i="0" u="none" baseline="0" dirty="0">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Les agents de changement peuvent agir à titre de responsable du groupe de travail ou de gestionnaire pour soutenir la collecte de renseignements et le développement de la conception. </a:t>
            </a:r>
          </a:p>
          <a:p>
            <a:pPr marL="285750" indent="-285750" algn="l" rtl="0">
              <a:buFont typeface="Arial" panose="020B0604020202020204" pitchFamily="34" charset="0"/>
              <a:buChar char="•"/>
            </a:pPr>
            <a:endParaRPr lang="fr-ca" sz="1400" dirty="0">
              <a:latin typeface="Arial" panose="020B0604020202020204" pitchFamily="34" charset="0"/>
              <a:cs typeface="Arial" panose="020B0604020202020204" pitchFamily="34" charset="0"/>
            </a:endParaRPr>
          </a:p>
          <a:p>
            <a:pPr marL="285750" indent="-285750" algn="l" rtl="0">
              <a:buFont typeface="Arial" panose="020B0604020202020204" pitchFamily="34" charset="0"/>
              <a:buChar char="•"/>
            </a:pPr>
            <a:r>
              <a:rPr lang="fr-ca" sz="1400" b="0" i="0" u="none" baseline="0" dirty="0">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Nommer et sélectionner les agents de changement  –Créer votre réseau d’agents de changement.</a:t>
            </a:r>
          </a:p>
          <a:p>
            <a:pPr marL="285750" indent="-285750" algn="l" rtl="0">
              <a:buFont typeface="Arial" panose="020B0604020202020204" pitchFamily="34" charset="0"/>
              <a:buChar char="•"/>
            </a:pPr>
            <a:endParaRPr lang="fr-ca" sz="1400" dirty="0">
              <a:latin typeface="Arial" panose="020B0604020202020204" pitchFamily="34" charset="0"/>
              <a:cs typeface="Arial" panose="020B0604020202020204" pitchFamily="34" charset="0"/>
            </a:endParaRPr>
          </a:p>
          <a:p>
            <a:pPr marL="285750" indent="-285750" algn="l" rtl="0">
              <a:buFont typeface="Arial" panose="020B0604020202020204" pitchFamily="34" charset="0"/>
              <a:buChar char="•"/>
            </a:pPr>
            <a:r>
              <a:rPr lang="fr-ca" sz="1400" b="0" i="0" u="none" baseline="0" dirty="0">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Réunion initiale des agents de changement avec le gestionnaire de changement</a:t>
            </a:r>
            <a:endParaRPr lang="fr-ca" sz="1400" dirty="0">
              <a:latin typeface="Arial" panose="020B0604020202020204" pitchFamily="34" charset="0"/>
              <a:cs typeface="Arial" panose="020B0604020202020204" pitchFamily="34" charset="0"/>
            </a:endParaRPr>
          </a:p>
        </p:txBody>
      </p:sp>
      <p:sp>
        <p:nvSpPr>
          <p:cNvPr id="23" name="TextBox 22">
            <a:extLst>
              <a:ext uri="{FF2B5EF4-FFF2-40B4-BE49-F238E27FC236}">
                <a16:creationId xmlns:a16="http://schemas.microsoft.com/office/drawing/2014/main" id="{B765B734-877B-416A-B06B-163E3A21938C}"/>
              </a:ext>
            </a:extLst>
          </p:cNvPr>
          <p:cNvSpPr txBox="1"/>
          <p:nvPr>
            <p:custDataLst>
              <p:tags r:id="rId4"/>
            </p:custDataLst>
          </p:nvPr>
        </p:nvSpPr>
        <p:spPr>
          <a:xfrm>
            <a:off x="6206572" y="2669022"/>
            <a:ext cx="2805941" cy="3323987"/>
          </a:xfrm>
          <a:prstGeom prst="rect">
            <a:avLst/>
          </a:prstGeom>
          <a:noFill/>
        </p:spPr>
        <p:txBody>
          <a:bodyPr wrap="square" rtlCol="0">
            <a:spAutoFit/>
          </a:bodyPr>
          <a:lstStyle/>
          <a:p>
            <a:pPr marL="285750" indent="-285750" algn="l" rtl="0">
              <a:buFont typeface="Arial" panose="020B0604020202020204" pitchFamily="34" charset="0"/>
              <a:buChar char="•"/>
            </a:pPr>
            <a:r>
              <a:rPr lang="fr-ca" sz="1400" b="0" i="0" u="none" baseline="0" dirty="0">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Les agents de changement peuvent soutenir les efforts d’emménagement et de relocalisation avant la construction ou l’installation du mobilier. Toutefois, cela dépend du projet. </a:t>
            </a:r>
          </a:p>
          <a:p>
            <a:pPr marL="285750" indent="-285750" algn="l" rtl="0">
              <a:buFont typeface="Arial" panose="020B0604020202020204" pitchFamily="34" charset="0"/>
              <a:buChar char="•"/>
            </a:pPr>
            <a:endParaRPr lang="fr-ca" sz="1400" dirty="0">
              <a:latin typeface="Arial" panose="020B0604020202020204" pitchFamily="34" charset="0"/>
              <a:cs typeface="Arial" panose="020B0604020202020204" pitchFamily="34" charset="0"/>
            </a:endParaRPr>
          </a:p>
          <a:p>
            <a:pPr marL="285750" indent="-285750" algn="l" rtl="0">
              <a:buFont typeface="Arial" panose="020B0604020202020204" pitchFamily="34" charset="0"/>
              <a:buChar char="•"/>
            </a:pPr>
            <a:r>
              <a:rPr lang="fr-ca" sz="1400" b="0" i="0" u="none" baseline="0" dirty="0">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Les agents de changement ont la présente trousse et des ressources supplémentaires comme outils. </a:t>
            </a:r>
          </a:p>
          <a:p>
            <a:pPr marL="285750" indent="-285750" algn="l" rtl="0">
              <a:buFont typeface="Arial" panose="020B0604020202020204" pitchFamily="34" charset="0"/>
              <a:buChar char="•"/>
            </a:pPr>
            <a:endParaRPr lang="fr-ca" sz="1400" dirty="0">
              <a:latin typeface="Arial" panose="020B0604020202020204" pitchFamily="34" charset="0"/>
              <a:cs typeface="Arial" panose="020B0604020202020204" pitchFamily="34" charset="0"/>
            </a:endParaRPr>
          </a:p>
          <a:p>
            <a:pPr marL="285750" indent="-285750" algn="l" rtl="0">
              <a:buFont typeface="Arial" panose="020B0604020202020204" pitchFamily="34" charset="0"/>
              <a:buChar char="•"/>
            </a:pPr>
            <a:r>
              <a:rPr lang="fr-ca" sz="1400" b="0" i="0" u="none" baseline="0" dirty="0">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Une approche est établie pour les rétroactions et peut inclure des tables rondes hebdomadaires avec le gestionnaire de changement.</a:t>
            </a:r>
          </a:p>
          <a:p>
            <a:pPr marL="285750" indent="-285750" algn="l" rtl="0">
              <a:buFont typeface="Arial" panose="020B0604020202020204" pitchFamily="34" charset="0"/>
              <a:buChar char="•"/>
            </a:pPr>
            <a:endParaRPr lang="fr-ca" sz="1400" dirty="0">
              <a:latin typeface="Arial" panose="020B0604020202020204" pitchFamily="34" charset="0"/>
              <a:cs typeface="Arial" panose="020B0604020202020204" pitchFamily="34" charset="0"/>
            </a:endParaRPr>
          </a:p>
        </p:txBody>
      </p:sp>
      <p:sp>
        <p:nvSpPr>
          <p:cNvPr id="24" name="TextBox 23">
            <a:extLst>
              <a:ext uri="{FF2B5EF4-FFF2-40B4-BE49-F238E27FC236}">
                <a16:creationId xmlns:a16="http://schemas.microsoft.com/office/drawing/2014/main" id="{B8B441B2-94C6-4469-BDC1-A020C5BA1297}"/>
              </a:ext>
            </a:extLst>
          </p:cNvPr>
          <p:cNvSpPr txBox="1"/>
          <p:nvPr>
            <p:custDataLst>
              <p:tags r:id="rId5"/>
            </p:custDataLst>
          </p:nvPr>
        </p:nvSpPr>
        <p:spPr>
          <a:xfrm>
            <a:off x="9166695" y="2665698"/>
            <a:ext cx="3002280" cy="3970318"/>
          </a:xfrm>
          <a:prstGeom prst="rect">
            <a:avLst/>
          </a:prstGeom>
          <a:noFill/>
        </p:spPr>
        <p:txBody>
          <a:bodyPr wrap="square" rtlCol="0">
            <a:spAutoFit/>
          </a:bodyPr>
          <a:lstStyle/>
          <a:p>
            <a:pPr marL="285750" indent="-285750" algn="l" rtl="0">
              <a:buFont typeface="Arial" panose="020B0604020202020204" pitchFamily="34" charset="0"/>
              <a:buChar char="•"/>
            </a:pPr>
            <a:r>
              <a:rPr lang="fr-ca" sz="1400" b="0" i="0" u="none" baseline="0" dirty="0">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Les agents de changement soutiennent les activités de mise en service, y compris l’intégration des employés et la formation sur l’initiative de changement.</a:t>
            </a:r>
          </a:p>
          <a:p>
            <a:pPr marL="285750" indent="-285750" algn="l" rtl="0">
              <a:buFont typeface="Arial" panose="020B0604020202020204" pitchFamily="34" charset="0"/>
              <a:buChar char="•"/>
            </a:pPr>
            <a:endParaRPr lang="fr-ca" sz="1400" dirty="0">
              <a:latin typeface="Arial" panose="020B0604020202020204" pitchFamily="34" charset="0"/>
              <a:cs typeface="Arial" panose="020B0604020202020204" pitchFamily="34" charset="0"/>
            </a:endParaRPr>
          </a:p>
          <a:p>
            <a:pPr marL="285750" indent="-285750" algn="l" rtl="0">
              <a:buFont typeface="Arial" panose="020B0604020202020204" pitchFamily="34" charset="0"/>
              <a:buChar char="•"/>
            </a:pPr>
            <a:r>
              <a:rPr lang="fr-ca" sz="1400" b="0" i="0" u="none" baseline="0" dirty="0">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Donner l’exemple dans le cadre du changement et renforcer l’application des nouvelles normes et de l’étiquette de l’équipe. </a:t>
            </a:r>
          </a:p>
          <a:p>
            <a:pPr marL="285750" indent="-285750" algn="l" rtl="0">
              <a:buFont typeface="Arial" panose="020B0604020202020204" pitchFamily="34" charset="0"/>
              <a:buChar char="•"/>
            </a:pPr>
            <a:endParaRPr lang="fr-ca" sz="1400" dirty="0">
              <a:latin typeface="Arial" panose="020B0604020202020204" pitchFamily="34" charset="0"/>
              <a:cs typeface="Arial" panose="020B0604020202020204" pitchFamily="34" charset="0"/>
            </a:endParaRPr>
          </a:p>
          <a:p>
            <a:pPr marL="285750" indent="-285750" algn="l" rtl="0">
              <a:buFont typeface="Arial" panose="020B0604020202020204" pitchFamily="34" charset="0"/>
              <a:buChar char="•"/>
            </a:pPr>
            <a:r>
              <a:rPr lang="fr-ca" sz="1400" b="0" i="0" u="none" baseline="0" dirty="0">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Soutenir les activités ad hoc de mobilisation après l’emménagement ainsi que la collecte des renseignements. </a:t>
            </a:r>
          </a:p>
          <a:p>
            <a:pPr marL="285750" indent="-285750" algn="l" rtl="0">
              <a:buFont typeface="Arial" panose="020B0604020202020204" pitchFamily="34" charset="0"/>
              <a:buChar char="•"/>
            </a:pPr>
            <a:endParaRPr lang="fr-ca" sz="1400" dirty="0">
              <a:latin typeface="Arial" panose="020B0604020202020204" pitchFamily="34" charset="0"/>
              <a:cs typeface="Arial" panose="020B0604020202020204" pitchFamily="34" charset="0"/>
            </a:endParaRPr>
          </a:p>
        </p:txBody>
      </p:sp>
      <p:sp>
        <p:nvSpPr>
          <p:cNvPr id="26" name="TextBox 25">
            <a:extLst>
              <a:ext uri="{FF2B5EF4-FFF2-40B4-BE49-F238E27FC236}">
                <a16:creationId xmlns:a16="http://schemas.microsoft.com/office/drawing/2014/main" id="{B72D1A00-9DFB-419C-AB72-F326DA3B5CFD}"/>
              </a:ext>
            </a:extLst>
          </p:cNvPr>
          <p:cNvSpPr txBox="1"/>
          <p:nvPr>
            <p:custDataLst>
              <p:tags r:id="rId6"/>
            </p:custDataLst>
          </p:nvPr>
        </p:nvSpPr>
        <p:spPr>
          <a:xfrm>
            <a:off x="225929" y="2699307"/>
            <a:ext cx="2805941" cy="523220"/>
          </a:xfrm>
          <a:prstGeom prst="rect">
            <a:avLst/>
          </a:prstGeom>
          <a:noFill/>
        </p:spPr>
        <p:txBody>
          <a:bodyPr wrap="square" rtlCol="0">
            <a:spAutoFit/>
          </a:bodyPr>
          <a:lstStyle/>
          <a:p>
            <a:pPr marL="285750" indent="-285750" algn="l" rtl="0">
              <a:buFont typeface="Arial" panose="020B0604020202020204" pitchFamily="34" charset="0"/>
              <a:buChar char="•"/>
            </a:pPr>
            <a:r>
              <a:rPr lang="fr-ca" sz="1400" b="0" i="0" u="none" baseline="0" dirty="0">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Les agents de changement ne sont pas impliqués dans cette phase. </a:t>
            </a:r>
            <a:endParaRPr lang="fr-ca" sz="1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26581854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A0AFF2-4F4F-47AF-B9C8-571D0131DD7F}"/>
              </a:ext>
            </a:extLst>
          </p:cNvPr>
          <p:cNvSpPr>
            <a:spLocks noGrp="1"/>
          </p:cNvSpPr>
          <p:nvPr>
            <p:ph type="title"/>
            <p:custDataLst>
              <p:tags r:id="rId1"/>
            </p:custDataLst>
          </p:nvPr>
        </p:nvSpPr>
        <p:spPr/>
        <p:txBody>
          <a:bodyPr/>
          <a:lstStyle/>
          <a:p>
            <a:pPr algn="l" rtl="0"/>
            <a:r>
              <a:rPr lang="fr-ca" b="1" i="0" u="none" baseline="0"/>
              <a:t>Pratiques exemplaires pour les agents de changement</a:t>
            </a:r>
            <a:endParaRPr lang="fr-ca" dirty="0"/>
          </a:p>
        </p:txBody>
      </p:sp>
      <p:sp>
        <p:nvSpPr>
          <p:cNvPr id="13" name="Rectangle 12">
            <a:extLst>
              <a:ext uri="{FF2B5EF4-FFF2-40B4-BE49-F238E27FC236}">
                <a16:creationId xmlns:a16="http://schemas.microsoft.com/office/drawing/2014/main" id="{C19188B3-66AB-44B1-A463-35E99C7D04A6}"/>
              </a:ext>
            </a:extLst>
          </p:cNvPr>
          <p:cNvSpPr/>
          <p:nvPr>
            <p:custDataLst>
              <p:tags r:id="rId2"/>
            </p:custDataLst>
          </p:nvPr>
        </p:nvSpPr>
        <p:spPr>
          <a:xfrm>
            <a:off x="4421505" y="1323185"/>
            <a:ext cx="2004060" cy="304800"/>
          </a:xfrm>
          <a:prstGeom prst="rect">
            <a:avLst/>
          </a:prstGeom>
          <a:gradFill>
            <a:gsLst>
              <a:gs pos="51000">
                <a:schemeClr val="accent4"/>
              </a:gs>
              <a:gs pos="100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rtl="0"/>
            <a:r>
              <a:rPr lang="fr-ca" sz="1600" b="0" i="0" u="none" baseline="0">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Défendre</a:t>
            </a:r>
            <a:endParaRPr lang="fr-ca" sz="1600" dirty="0">
              <a:latin typeface="Arial" panose="020B0604020202020204" pitchFamily="34" charset="0"/>
              <a:cs typeface="Arial" panose="020B0604020202020204" pitchFamily="34" charset="0"/>
            </a:endParaRPr>
          </a:p>
        </p:txBody>
      </p:sp>
      <p:sp>
        <p:nvSpPr>
          <p:cNvPr id="14" name="Rectangle 13">
            <a:extLst>
              <a:ext uri="{FF2B5EF4-FFF2-40B4-BE49-F238E27FC236}">
                <a16:creationId xmlns:a16="http://schemas.microsoft.com/office/drawing/2014/main" id="{8A89915E-0B52-4852-AF4A-10E4EE446F53}"/>
              </a:ext>
            </a:extLst>
          </p:cNvPr>
          <p:cNvSpPr/>
          <p:nvPr>
            <p:custDataLst>
              <p:tags r:id="rId3"/>
            </p:custDataLst>
          </p:nvPr>
        </p:nvSpPr>
        <p:spPr>
          <a:xfrm>
            <a:off x="4421505" y="4814385"/>
            <a:ext cx="2004060" cy="304800"/>
          </a:xfrm>
          <a:prstGeom prst="rect">
            <a:avLst/>
          </a:prstGeom>
          <a:gradFill>
            <a:gsLst>
              <a:gs pos="51000">
                <a:schemeClr val="accent2"/>
              </a:gs>
              <a:gs pos="100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rtl="0"/>
            <a:r>
              <a:rPr lang="fr-ca" sz="1600" b="0" i="0" u="none" baseline="0">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Participer</a:t>
            </a:r>
            <a:endParaRPr lang="fr-ca" sz="1600" dirty="0">
              <a:latin typeface="Arial" panose="020B0604020202020204" pitchFamily="34" charset="0"/>
              <a:cs typeface="Arial" panose="020B0604020202020204" pitchFamily="34" charset="0"/>
            </a:endParaRPr>
          </a:p>
        </p:txBody>
      </p:sp>
      <p:grpSp>
        <p:nvGrpSpPr>
          <p:cNvPr id="5" name="Group 2">
            <a:extLst>
              <a:ext uri="{FF2B5EF4-FFF2-40B4-BE49-F238E27FC236}">
                <a16:creationId xmlns:a16="http://schemas.microsoft.com/office/drawing/2014/main" id="{9D103B9B-6487-4075-9714-42755DE1A34A}"/>
              </a:ext>
            </a:extLst>
          </p:cNvPr>
          <p:cNvGrpSpPr>
            <a:grpSpLocks/>
          </p:cNvGrpSpPr>
          <p:nvPr>
            <p:custDataLst>
              <p:tags r:id="rId4"/>
            </p:custDataLst>
          </p:nvPr>
        </p:nvGrpSpPr>
        <p:grpSpPr bwMode="auto">
          <a:xfrm rot="16200000">
            <a:off x="224790" y="1626870"/>
            <a:ext cx="3985282" cy="3985282"/>
            <a:chOff x="367" y="874"/>
            <a:chExt cx="1152" cy="1152"/>
          </a:xfrm>
          <a:solidFill>
            <a:schemeClr val="accent1"/>
          </a:solidFill>
        </p:grpSpPr>
        <p:sp>
          <p:nvSpPr>
            <p:cNvPr id="6" name="Freeform 3">
              <a:extLst>
                <a:ext uri="{FF2B5EF4-FFF2-40B4-BE49-F238E27FC236}">
                  <a16:creationId xmlns:a16="http://schemas.microsoft.com/office/drawing/2014/main" id="{D91C9FAB-490D-45A6-ACCD-17A2C0FA2B7F}"/>
                </a:ext>
              </a:extLst>
            </p:cNvPr>
            <p:cNvSpPr>
              <a:spLocks/>
            </p:cNvSpPr>
            <p:nvPr/>
          </p:nvSpPr>
          <p:spPr bwMode="gray">
            <a:xfrm>
              <a:off x="641" y="874"/>
              <a:ext cx="878" cy="631"/>
            </a:xfrm>
            <a:custGeom>
              <a:avLst/>
              <a:gdLst>
                <a:gd name="T0" fmla="*/ 1594 w 2397"/>
                <a:gd name="T1" fmla="*/ 1591 h 1721"/>
                <a:gd name="T2" fmla="*/ 1565 w 2397"/>
                <a:gd name="T3" fmla="*/ 1623 h 1721"/>
                <a:gd name="T4" fmla="*/ 1563 w 2397"/>
                <a:gd name="T5" fmla="*/ 1685 h 1721"/>
                <a:gd name="T6" fmla="*/ 1608 w 2397"/>
                <a:gd name="T7" fmla="*/ 1721 h 1721"/>
                <a:gd name="T8" fmla="*/ 1622 w 2397"/>
                <a:gd name="T9" fmla="*/ 1720 h 1721"/>
                <a:gd name="T10" fmla="*/ 1671 w 2397"/>
                <a:gd name="T11" fmla="*/ 1672 h 1721"/>
                <a:gd name="T12" fmla="*/ 1665 w 2397"/>
                <a:gd name="T13" fmla="*/ 1619 h 1721"/>
                <a:gd name="T14" fmla="*/ 1645 w 2397"/>
                <a:gd name="T15" fmla="*/ 1588 h 1721"/>
                <a:gd name="T16" fmla="*/ 1658 w 2397"/>
                <a:gd name="T17" fmla="*/ 1568 h 1721"/>
                <a:gd name="T18" fmla="*/ 2145 w 2397"/>
                <a:gd name="T19" fmla="*/ 1561 h 1721"/>
                <a:gd name="T20" fmla="*/ 2155 w 2397"/>
                <a:gd name="T21" fmla="*/ 1534 h 1721"/>
                <a:gd name="T22" fmla="*/ 2129 w 2397"/>
                <a:gd name="T23" fmla="*/ 1505 h 1721"/>
                <a:gd name="T24" fmla="*/ 2125 w 2397"/>
                <a:gd name="T25" fmla="*/ 1448 h 1721"/>
                <a:gd name="T26" fmla="*/ 2176 w 2397"/>
                <a:gd name="T27" fmla="*/ 1404 h 1721"/>
                <a:gd name="T28" fmla="*/ 2177 w 2397"/>
                <a:gd name="T29" fmla="*/ 1404 h 1721"/>
                <a:gd name="T30" fmla="*/ 2231 w 2397"/>
                <a:gd name="T31" fmla="*/ 1445 h 1721"/>
                <a:gd name="T32" fmla="*/ 2230 w 2397"/>
                <a:gd name="T33" fmla="*/ 1502 h 1721"/>
                <a:gd name="T34" fmla="*/ 2205 w 2397"/>
                <a:gd name="T35" fmla="*/ 1534 h 1721"/>
                <a:gd name="T36" fmla="*/ 2215 w 2397"/>
                <a:gd name="T37" fmla="*/ 1559 h 1721"/>
                <a:gd name="T38" fmla="*/ 2395 w 2397"/>
                <a:gd name="T39" fmla="*/ 1486 h 1721"/>
                <a:gd name="T40" fmla="*/ 2300 w 2397"/>
                <a:gd name="T41" fmla="*/ 1030 h 1721"/>
                <a:gd name="T42" fmla="*/ 2084 w 2397"/>
                <a:gd name="T43" fmla="*/ 631 h 1721"/>
                <a:gd name="T44" fmla="*/ 1765 w 2397"/>
                <a:gd name="T45" fmla="*/ 312 h 1721"/>
                <a:gd name="T46" fmla="*/ 1366 w 2397"/>
                <a:gd name="T47" fmla="*/ 95 h 1721"/>
                <a:gd name="T48" fmla="*/ 908 w 2397"/>
                <a:gd name="T49" fmla="*/ 2 h 1721"/>
                <a:gd name="T50" fmla="*/ 563 w 2397"/>
                <a:gd name="T51" fmla="*/ 22 h 1721"/>
                <a:gd name="T52" fmla="*/ 263 w 2397"/>
                <a:gd name="T53" fmla="*/ 106 h 1721"/>
                <a:gd name="T54" fmla="*/ 123 w 2397"/>
                <a:gd name="T55" fmla="*/ 370 h 1721"/>
                <a:gd name="T56" fmla="*/ 120 w 2397"/>
                <a:gd name="T57" fmla="*/ 385 h 1721"/>
                <a:gd name="T58" fmla="*/ 95 w 2397"/>
                <a:gd name="T59" fmla="*/ 395 h 1721"/>
                <a:gd name="T60" fmla="*/ 49 w 2397"/>
                <a:gd name="T61" fmla="*/ 394 h 1721"/>
                <a:gd name="T62" fmla="*/ 3 w 2397"/>
                <a:gd name="T63" fmla="*/ 439 h 1721"/>
                <a:gd name="T64" fmla="*/ 6 w 2397"/>
                <a:gd name="T65" fmla="*/ 486 h 1721"/>
                <a:gd name="T66" fmla="*/ 23 w 2397"/>
                <a:gd name="T67" fmla="*/ 502 h 1721"/>
                <a:gd name="T68" fmla="*/ 95 w 2397"/>
                <a:gd name="T69" fmla="*/ 499 h 1721"/>
                <a:gd name="T70" fmla="*/ 124 w 2397"/>
                <a:gd name="T71" fmla="*/ 462 h 1721"/>
                <a:gd name="T72" fmla="*/ 137 w 2397"/>
                <a:gd name="T73" fmla="*/ 433 h 1721"/>
                <a:gd name="T74" fmla="*/ 159 w 2397"/>
                <a:gd name="T75" fmla="*/ 433 h 1721"/>
                <a:gd name="T76" fmla="*/ 428 w 2397"/>
                <a:gd name="T77" fmla="*/ 857 h 1721"/>
                <a:gd name="T78" fmla="*/ 444 w 2397"/>
                <a:gd name="T79" fmla="*/ 825 h 1721"/>
                <a:gd name="T80" fmla="*/ 485 w 2397"/>
                <a:gd name="T81" fmla="*/ 793 h 1721"/>
                <a:gd name="T82" fmla="*/ 552 w 2397"/>
                <a:gd name="T83" fmla="*/ 812 h 1721"/>
                <a:gd name="T84" fmla="*/ 560 w 2397"/>
                <a:gd name="T85" fmla="*/ 822 h 1721"/>
                <a:gd name="T86" fmla="*/ 552 w 2397"/>
                <a:gd name="T87" fmla="*/ 879 h 1721"/>
                <a:gd name="T88" fmla="*/ 498 w 2397"/>
                <a:gd name="T89" fmla="*/ 908 h 1721"/>
                <a:gd name="T90" fmla="*/ 456 w 2397"/>
                <a:gd name="T91" fmla="*/ 900 h 1721"/>
                <a:gd name="T92" fmla="*/ 509 w 2397"/>
                <a:gd name="T93" fmla="*/ 1039 h 1721"/>
                <a:gd name="T94" fmla="*/ 741 w 2397"/>
                <a:gd name="T95" fmla="*/ 957 h 1721"/>
                <a:gd name="T96" fmla="*/ 890 w 2397"/>
                <a:gd name="T97" fmla="*/ 954 h 1721"/>
                <a:gd name="T98" fmla="*/ 1067 w 2397"/>
                <a:gd name="T99" fmla="*/ 999 h 1721"/>
                <a:gd name="T100" fmla="*/ 1219 w 2397"/>
                <a:gd name="T101" fmla="*/ 1091 h 1721"/>
                <a:gd name="T102" fmla="*/ 1339 w 2397"/>
                <a:gd name="T103" fmla="*/ 1223 h 1721"/>
                <a:gd name="T104" fmla="*/ 1418 w 2397"/>
                <a:gd name="T105" fmla="*/ 1384 h 1721"/>
                <a:gd name="T106" fmla="*/ 1448 w 2397"/>
                <a:gd name="T107" fmla="*/ 1566 h 1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97" h="1721">
                  <a:moveTo>
                    <a:pt x="1594" y="1566"/>
                  </a:moveTo>
                  <a:lnTo>
                    <a:pt x="1597" y="1575"/>
                  </a:lnTo>
                  <a:lnTo>
                    <a:pt x="1598" y="1580"/>
                  </a:lnTo>
                  <a:lnTo>
                    <a:pt x="1598" y="1584"/>
                  </a:lnTo>
                  <a:lnTo>
                    <a:pt x="1597" y="1588"/>
                  </a:lnTo>
                  <a:lnTo>
                    <a:pt x="1594" y="1591"/>
                  </a:lnTo>
                  <a:lnTo>
                    <a:pt x="1589" y="1596"/>
                  </a:lnTo>
                  <a:lnTo>
                    <a:pt x="1584" y="1600"/>
                  </a:lnTo>
                  <a:lnTo>
                    <a:pt x="1578" y="1604"/>
                  </a:lnTo>
                  <a:lnTo>
                    <a:pt x="1573" y="1610"/>
                  </a:lnTo>
                  <a:lnTo>
                    <a:pt x="1569" y="1616"/>
                  </a:lnTo>
                  <a:lnTo>
                    <a:pt x="1565" y="1623"/>
                  </a:lnTo>
                  <a:lnTo>
                    <a:pt x="1562" y="1631"/>
                  </a:lnTo>
                  <a:lnTo>
                    <a:pt x="1559" y="1640"/>
                  </a:lnTo>
                  <a:lnTo>
                    <a:pt x="1559" y="1647"/>
                  </a:lnTo>
                  <a:lnTo>
                    <a:pt x="1557" y="1661"/>
                  </a:lnTo>
                  <a:lnTo>
                    <a:pt x="1560" y="1673"/>
                  </a:lnTo>
                  <a:lnTo>
                    <a:pt x="1563" y="1685"/>
                  </a:lnTo>
                  <a:lnTo>
                    <a:pt x="1570" y="1697"/>
                  </a:lnTo>
                  <a:lnTo>
                    <a:pt x="1578" y="1705"/>
                  </a:lnTo>
                  <a:lnTo>
                    <a:pt x="1586" y="1713"/>
                  </a:lnTo>
                  <a:lnTo>
                    <a:pt x="1597" y="1718"/>
                  </a:lnTo>
                  <a:lnTo>
                    <a:pt x="1608" y="1721"/>
                  </a:lnTo>
                  <a:lnTo>
                    <a:pt x="1610" y="1721"/>
                  </a:lnTo>
                  <a:lnTo>
                    <a:pt x="1622" y="1720"/>
                  </a:lnTo>
                  <a:lnTo>
                    <a:pt x="1633" y="1717"/>
                  </a:lnTo>
                  <a:lnTo>
                    <a:pt x="1644" y="1711"/>
                  </a:lnTo>
                  <a:lnTo>
                    <a:pt x="1652" y="1704"/>
                  </a:lnTo>
                  <a:lnTo>
                    <a:pt x="1661" y="1694"/>
                  </a:lnTo>
                  <a:lnTo>
                    <a:pt x="1667" y="1683"/>
                  </a:lnTo>
                  <a:lnTo>
                    <a:pt x="1671" y="1672"/>
                  </a:lnTo>
                  <a:lnTo>
                    <a:pt x="1673" y="1657"/>
                  </a:lnTo>
                  <a:lnTo>
                    <a:pt x="1673" y="1650"/>
                  </a:lnTo>
                  <a:lnTo>
                    <a:pt x="1673" y="1641"/>
                  </a:lnTo>
                  <a:lnTo>
                    <a:pt x="1671" y="1634"/>
                  </a:lnTo>
                  <a:lnTo>
                    <a:pt x="1668" y="1626"/>
                  </a:lnTo>
                  <a:lnTo>
                    <a:pt x="1665" y="1619"/>
                  </a:lnTo>
                  <a:lnTo>
                    <a:pt x="1661" y="1612"/>
                  </a:lnTo>
                  <a:lnTo>
                    <a:pt x="1657" y="1606"/>
                  </a:lnTo>
                  <a:lnTo>
                    <a:pt x="1651" y="1602"/>
                  </a:lnTo>
                  <a:lnTo>
                    <a:pt x="1648" y="1597"/>
                  </a:lnTo>
                  <a:lnTo>
                    <a:pt x="1646" y="1593"/>
                  </a:lnTo>
                  <a:lnTo>
                    <a:pt x="1645" y="1588"/>
                  </a:lnTo>
                  <a:lnTo>
                    <a:pt x="1645" y="1584"/>
                  </a:lnTo>
                  <a:lnTo>
                    <a:pt x="1646" y="1581"/>
                  </a:lnTo>
                  <a:lnTo>
                    <a:pt x="1649" y="1575"/>
                  </a:lnTo>
                  <a:lnTo>
                    <a:pt x="1654" y="1571"/>
                  </a:lnTo>
                  <a:lnTo>
                    <a:pt x="1658" y="1568"/>
                  </a:lnTo>
                  <a:lnTo>
                    <a:pt x="1658" y="1566"/>
                  </a:lnTo>
                  <a:lnTo>
                    <a:pt x="1888" y="1566"/>
                  </a:lnTo>
                  <a:lnTo>
                    <a:pt x="1968" y="1566"/>
                  </a:lnTo>
                  <a:lnTo>
                    <a:pt x="2147" y="1566"/>
                  </a:lnTo>
                  <a:lnTo>
                    <a:pt x="2147" y="1563"/>
                  </a:lnTo>
                  <a:lnTo>
                    <a:pt x="2145" y="1561"/>
                  </a:lnTo>
                  <a:lnTo>
                    <a:pt x="2151" y="1558"/>
                  </a:lnTo>
                  <a:lnTo>
                    <a:pt x="2154" y="1553"/>
                  </a:lnTo>
                  <a:lnTo>
                    <a:pt x="2155" y="1547"/>
                  </a:lnTo>
                  <a:lnTo>
                    <a:pt x="2157" y="1543"/>
                  </a:lnTo>
                  <a:lnTo>
                    <a:pt x="2157" y="1539"/>
                  </a:lnTo>
                  <a:lnTo>
                    <a:pt x="2155" y="1534"/>
                  </a:lnTo>
                  <a:lnTo>
                    <a:pt x="2152" y="1531"/>
                  </a:lnTo>
                  <a:lnTo>
                    <a:pt x="2150" y="1527"/>
                  </a:lnTo>
                  <a:lnTo>
                    <a:pt x="2144" y="1523"/>
                  </a:lnTo>
                  <a:lnTo>
                    <a:pt x="2138" y="1517"/>
                  </a:lnTo>
                  <a:lnTo>
                    <a:pt x="2133" y="1511"/>
                  </a:lnTo>
                  <a:lnTo>
                    <a:pt x="2129" y="1505"/>
                  </a:lnTo>
                  <a:lnTo>
                    <a:pt x="2126" y="1498"/>
                  </a:lnTo>
                  <a:lnTo>
                    <a:pt x="2123" y="1490"/>
                  </a:lnTo>
                  <a:lnTo>
                    <a:pt x="2122" y="1482"/>
                  </a:lnTo>
                  <a:lnTo>
                    <a:pt x="2120" y="1473"/>
                  </a:lnTo>
                  <a:lnTo>
                    <a:pt x="2122" y="1460"/>
                  </a:lnTo>
                  <a:lnTo>
                    <a:pt x="2125" y="1448"/>
                  </a:lnTo>
                  <a:lnTo>
                    <a:pt x="2129" y="1436"/>
                  </a:lnTo>
                  <a:lnTo>
                    <a:pt x="2136" y="1426"/>
                  </a:lnTo>
                  <a:lnTo>
                    <a:pt x="2144" y="1417"/>
                  </a:lnTo>
                  <a:lnTo>
                    <a:pt x="2154" y="1410"/>
                  </a:lnTo>
                  <a:lnTo>
                    <a:pt x="2164" y="1406"/>
                  </a:lnTo>
                  <a:lnTo>
                    <a:pt x="2176" y="1404"/>
                  </a:lnTo>
                  <a:lnTo>
                    <a:pt x="2177" y="1404"/>
                  </a:lnTo>
                  <a:lnTo>
                    <a:pt x="2189" y="1406"/>
                  </a:lnTo>
                  <a:lnTo>
                    <a:pt x="2201" y="1408"/>
                  </a:lnTo>
                  <a:lnTo>
                    <a:pt x="2211" y="1416"/>
                  </a:lnTo>
                  <a:lnTo>
                    <a:pt x="2218" y="1423"/>
                  </a:lnTo>
                  <a:lnTo>
                    <a:pt x="2226" y="1433"/>
                  </a:lnTo>
                  <a:lnTo>
                    <a:pt x="2231" y="1445"/>
                  </a:lnTo>
                  <a:lnTo>
                    <a:pt x="2234" y="1457"/>
                  </a:lnTo>
                  <a:lnTo>
                    <a:pt x="2236" y="1471"/>
                  </a:lnTo>
                  <a:lnTo>
                    <a:pt x="2236" y="1479"/>
                  </a:lnTo>
                  <a:lnTo>
                    <a:pt x="2234" y="1487"/>
                  </a:lnTo>
                  <a:lnTo>
                    <a:pt x="2233" y="1495"/>
                  </a:lnTo>
                  <a:lnTo>
                    <a:pt x="2230" y="1502"/>
                  </a:lnTo>
                  <a:lnTo>
                    <a:pt x="2226" y="1509"/>
                  </a:lnTo>
                  <a:lnTo>
                    <a:pt x="2221" y="1515"/>
                  </a:lnTo>
                  <a:lnTo>
                    <a:pt x="2217" y="1521"/>
                  </a:lnTo>
                  <a:lnTo>
                    <a:pt x="2211" y="1525"/>
                  </a:lnTo>
                  <a:lnTo>
                    <a:pt x="2208" y="1530"/>
                  </a:lnTo>
                  <a:lnTo>
                    <a:pt x="2205" y="1534"/>
                  </a:lnTo>
                  <a:lnTo>
                    <a:pt x="2204" y="1537"/>
                  </a:lnTo>
                  <a:lnTo>
                    <a:pt x="2204" y="1542"/>
                  </a:lnTo>
                  <a:lnTo>
                    <a:pt x="2205" y="1546"/>
                  </a:lnTo>
                  <a:lnTo>
                    <a:pt x="2207" y="1552"/>
                  </a:lnTo>
                  <a:lnTo>
                    <a:pt x="2211" y="1556"/>
                  </a:lnTo>
                  <a:lnTo>
                    <a:pt x="2215" y="1559"/>
                  </a:lnTo>
                  <a:lnTo>
                    <a:pt x="2217" y="1561"/>
                  </a:lnTo>
                  <a:lnTo>
                    <a:pt x="2218" y="1561"/>
                  </a:lnTo>
                  <a:lnTo>
                    <a:pt x="2218" y="1563"/>
                  </a:lnTo>
                  <a:lnTo>
                    <a:pt x="2218" y="1566"/>
                  </a:lnTo>
                  <a:lnTo>
                    <a:pt x="2397" y="1566"/>
                  </a:lnTo>
                  <a:lnTo>
                    <a:pt x="2395" y="1486"/>
                  </a:lnTo>
                  <a:lnTo>
                    <a:pt x="2388" y="1407"/>
                  </a:lnTo>
                  <a:lnTo>
                    <a:pt x="2378" y="1330"/>
                  </a:lnTo>
                  <a:lnTo>
                    <a:pt x="2365" y="1252"/>
                  </a:lnTo>
                  <a:lnTo>
                    <a:pt x="2347" y="1176"/>
                  </a:lnTo>
                  <a:lnTo>
                    <a:pt x="2325" y="1101"/>
                  </a:lnTo>
                  <a:lnTo>
                    <a:pt x="2300" y="1030"/>
                  </a:lnTo>
                  <a:lnTo>
                    <a:pt x="2272" y="958"/>
                  </a:lnTo>
                  <a:lnTo>
                    <a:pt x="2240" y="889"/>
                  </a:lnTo>
                  <a:lnTo>
                    <a:pt x="2207" y="821"/>
                  </a:lnTo>
                  <a:lnTo>
                    <a:pt x="2169" y="755"/>
                  </a:lnTo>
                  <a:lnTo>
                    <a:pt x="2128" y="692"/>
                  </a:lnTo>
                  <a:lnTo>
                    <a:pt x="2084" y="631"/>
                  </a:lnTo>
                  <a:lnTo>
                    <a:pt x="2037" y="571"/>
                  </a:lnTo>
                  <a:lnTo>
                    <a:pt x="1987" y="515"/>
                  </a:lnTo>
                  <a:lnTo>
                    <a:pt x="1935" y="459"/>
                  </a:lnTo>
                  <a:lnTo>
                    <a:pt x="1880" y="408"/>
                  </a:lnTo>
                  <a:lnTo>
                    <a:pt x="1823" y="359"/>
                  </a:lnTo>
                  <a:lnTo>
                    <a:pt x="1765" y="312"/>
                  </a:lnTo>
                  <a:lnTo>
                    <a:pt x="1703" y="268"/>
                  </a:lnTo>
                  <a:lnTo>
                    <a:pt x="1639" y="227"/>
                  </a:lnTo>
                  <a:lnTo>
                    <a:pt x="1573" y="190"/>
                  </a:lnTo>
                  <a:lnTo>
                    <a:pt x="1506" y="155"/>
                  </a:lnTo>
                  <a:lnTo>
                    <a:pt x="1436" y="123"/>
                  </a:lnTo>
                  <a:lnTo>
                    <a:pt x="1366" y="95"/>
                  </a:lnTo>
                  <a:lnTo>
                    <a:pt x="1293" y="71"/>
                  </a:lnTo>
                  <a:lnTo>
                    <a:pt x="1218" y="50"/>
                  </a:lnTo>
                  <a:lnTo>
                    <a:pt x="1142" y="32"/>
                  </a:lnTo>
                  <a:lnTo>
                    <a:pt x="1066" y="18"/>
                  </a:lnTo>
                  <a:lnTo>
                    <a:pt x="987" y="9"/>
                  </a:lnTo>
                  <a:lnTo>
                    <a:pt x="908" y="2"/>
                  </a:lnTo>
                  <a:lnTo>
                    <a:pt x="827" y="0"/>
                  </a:lnTo>
                  <a:lnTo>
                    <a:pt x="773" y="2"/>
                  </a:lnTo>
                  <a:lnTo>
                    <a:pt x="719" y="3"/>
                  </a:lnTo>
                  <a:lnTo>
                    <a:pt x="667" y="9"/>
                  </a:lnTo>
                  <a:lnTo>
                    <a:pt x="614" y="15"/>
                  </a:lnTo>
                  <a:lnTo>
                    <a:pt x="563" y="22"/>
                  </a:lnTo>
                  <a:lnTo>
                    <a:pt x="510" y="32"/>
                  </a:lnTo>
                  <a:lnTo>
                    <a:pt x="460" y="44"/>
                  </a:lnTo>
                  <a:lnTo>
                    <a:pt x="409" y="57"/>
                  </a:lnTo>
                  <a:lnTo>
                    <a:pt x="361" y="72"/>
                  </a:lnTo>
                  <a:lnTo>
                    <a:pt x="311" y="88"/>
                  </a:lnTo>
                  <a:lnTo>
                    <a:pt x="263" y="106"/>
                  </a:lnTo>
                  <a:lnTo>
                    <a:pt x="216" y="125"/>
                  </a:lnTo>
                  <a:lnTo>
                    <a:pt x="169" y="145"/>
                  </a:lnTo>
                  <a:lnTo>
                    <a:pt x="124" y="167"/>
                  </a:lnTo>
                  <a:lnTo>
                    <a:pt x="79" y="190"/>
                  </a:lnTo>
                  <a:lnTo>
                    <a:pt x="35" y="217"/>
                  </a:lnTo>
                  <a:lnTo>
                    <a:pt x="123" y="370"/>
                  </a:lnTo>
                  <a:lnTo>
                    <a:pt x="121" y="370"/>
                  </a:lnTo>
                  <a:lnTo>
                    <a:pt x="121" y="372"/>
                  </a:lnTo>
                  <a:lnTo>
                    <a:pt x="121" y="373"/>
                  </a:lnTo>
                  <a:lnTo>
                    <a:pt x="123" y="373"/>
                  </a:lnTo>
                  <a:lnTo>
                    <a:pt x="121" y="379"/>
                  </a:lnTo>
                  <a:lnTo>
                    <a:pt x="120" y="385"/>
                  </a:lnTo>
                  <a:lnTo>
                    <a:pt x="115" y="391"/>
                  </a:lnTo>
                  <a:lnTo>
                    <a:pt x="112" y="392"/>
                  </a:lnTo>
                  <a:lnTo>
                    <a:pt x="109" y="395"/>
                  </a:lnTo>
                  <a:lnTo>
                    <a:pt x="105" y="397"/>
                  </a:lnTo>
                  <a:lnTo>
                    <a:pt x="101" y="397"/>
                  </a:lnTo>
                  <a:lnTo>
                    <a:pt x="95" y="395"/>
                  </a:lnTo>
                  <a:lnTo>
                    <a:pt x="87" y="392"/>
                  </a:lnTo>
                  <a:lnTo>
                    <a:pt x="80" y="391"/>
                  </a:lnTo>
                  <a:lnTo>
                    <a:pt x="73" y="391"/>
                  </a:lnTo>
                  <a:lnTo>
                    <a:pt x="65" y="391"/>
                  </a:lnTo>
                  <a:lnTo>
                    <a:pt x="58" y="392"/>
                  </a:lnTo>
                  <a:lnTo>
                    <a:pt x="49" y="394"/>
                  </a:lnTo>
                  <a:lnTo>
                    <a:pt x="42" y="397"/>
                  </a:lnTo>
                  <a:lnTo>
                    <a:pt x="35" y="401"/>
                  </a:lnTo>
                  <a:lnTo>
                    <a:pt x="23" y="408"/>
                  </a:lnTo>
                  <a:lnTo>
                    <a:pt x="14" y="417"/>
                  </a:lnTo>
                  <a:lnTo>
                    <a:pt x="7" y="427"/>
                  </a:lnTo>
                  <a:lnTo>
                    <a:pt x="3" y="439"/>
                  </a:lnTo>
                  <a:lnTo>
                    <a:pt x="0" y="451"/>
                  </a:lnTo>
                  <a:lnTo>
                    <a:pt x="0" y="462"/>
                  </a:lnTo>
                  <a:lnTo>
                    <a:pt x="1" y="474"/>
                  </a:lnTo>
                  <a:lnTo>
                    <a:pt x="6" y="486"/>
                  </a:lnTo>
                  <a:lnTo>
                    <a:pt x="7" y="486"/>
                  </a:lnTo>
                  <a:lnTo>
                    <a:pt x="14" y="495"/>
                  </a:lnTo>
                  <a:lnTo>
                    <a:pt x="23" y="502"/>
                  </a:lnTo>
                  <a:lnTo>
                    <a:pt x="35" y="508"/>
                  </a:lnTo>
                  <a:lnTo>
                    <a:pt x="46" y="511"/>
                  </a:lnTo>
                  <a:lnTo>
                    <a:pt x="58" y="511"/>
                  </a:lnTo>
                  <a:lnTo>
                    <a:pt x="70" y="509"/>
                  </a:lnTo>
                  <a:lnTo>
                    <a:pt x="83" y="505"/>
                  </a:lnTo>
                  <a:lnTo>
                    <a:pt x="95" y="499"/>
                  </a:lnTo>
                  <a:lnTo>
                    <a:pt x="102" y="495"/>
                  </a:lnTo>
                  <a:lnTo>
                    <a:pt x="108" y="489"/>
                  </a:lnTo>
                  <a:lnTo>
                    <a:pt x="112" y="483"/>
                  </a:lnTo>
                  <a:lnTo>
                    <a:pt x="118" y="476"/>
                  </a:lnTo>
                  <a:lnTo>
                    <a:pt x="121" y="470"/>
                  </a:lnTo>
                  <a:lnTo>
                    <a:pt x="124" y="462"/>
                  </a:lnTo>
                  <a:lnTo>
                    <a:pt x="125" y="455"/>
                  </a:lnTo>
                  <a:lnTo>
                    <a:pt x="127" y="448"/>
                  </a:lnTo>
                  <a:lnTo>
                    <a:pt x="128" y="443"/>
                  </a:lnTo>
                  <a:lnTo>
                    <a:pt x="131" y="439"/>
                  </a:lnTo>
                  <a:lnTo>
                    <a:pt x="134" y="436"/>
                  </a:lnTo>
                  <a:lnTo>
                    <a:pt x="137" y="433"/>
                  </a:lnTo>
                  <a:lnTo>
                    <a:pt x="142" y="432"/>
                  </a:lnTo>
                  <a:lnTo>
                    <a:pt x="147" y="430"/>
                  </a:lnTo>
                  <a:lnTo>
                    <a:pt x="153" y="432"/>
                  </a:lnTo>
                  <a:lnTo>
                    <a:pt x="158" y="433"/>
                  </a:lnTo>
                  <a:lnTo>
                    <a:pt x="159" y="433"/>
                  </a:lnTo>
                  <a:lnTo>
                    <a:pt x="403" y="857"/>
                  </a:lnTo>
                  <a:lnTo>
                    <a:pt x="409" y="859"/>
                  </a:lnTo>
                  <a:lnTo>
                    <a:pt x="415" y="860"/>
                  </a:lnTo>
                  <a:lnTo>
                    <a:pt x="419" y="860"/>
                  </a:lnTo>
                  <a:lnTo>
                    <a:pt x="424" y="859"/>
                  </a:lnTo>
                  <a:lnTo>
                    <a:pt x="428" y="857"/>
                  </a:lnTo>
                  <a:lnTo>
                    <a:pt x="431" y="854"/>
                  </a:lnTo>
                  <a:lnTo>
                    <a:pt x="433" y="850"/>
                  </a:lnTo>
                  <a:lnTo>
                    <a:pt x="435" y="846"/>
                  </a:lnTo>
                  <a:lnTo>
                    <a:pt x="437" y="838"/>
                  </a:lnTo>
                  <a:lnTo>
                    <a:pt x="440" y="831"/>
                  </a:lnTo>
                  <a:lnTo>
                    <a:pt x="444" y="825"/>
                  </a:lnTo>
                  <a:lnTo>
                    <a:pt x="449" y="818"/>
                  </a:lnTo>
                  <a:lnTo>
                    <a:pt x="453" y="812"/>
                  </a:lnTo>
                  <a:lnTo>
                    <a:pt x="459" y="807"/>
                  </a:lnTo>
                  <a:lnTo>
                    <a:pt x="466" y="802"/>
                  </a:lnTo>
                  <a:lnTo>
                    <a:pt x="474" y="799"/>
                  </a:lnTo>
                  <a:lnTo>
                    <a:pt x="485" y="793"/>
                  </a:lnTo>
                  <a:lnTo>
                    <a:pt x="498" y="791"/>
                  </a:lnTo>
                  <a:lnTo>
                    <a:pt x="512" y="791"/>
                  </a:lnTo>
                  <a:lnTo>
                    <a:pt x="523" y="793"/>
                  </a:lnTo>
                  <a:lnTo>
                    <a:pt x="535" y="797"/>
                  </a:lnTo>
                  <a:lnTo>
                    <a:pt x="545" y="803"/>
                  </a:lnTo>
                  <a:lnTo>
                    <a:pt x="552" y="812"/>
                  </a:lnTo>
                  <a:lnTo>
                    <a:pt x="560" y="822"/>
                  </a:lnTo>
                  <a:lnTo>
                    <a:pt x="563" y="834"/>
                  </a:lnTo>
                  <a:lnTo>
                    <a:pt x="564" y="846"/>
                  </a:lnTo>
                  <a:lnTo>
                    <a:pt x="563" y="857"/>
                  </a:lnTo>
                  <a:lnTo>
                    <a:pt x="558" y="869"/>
                  </a:lnTo>
                  <a:lnTo>
                    <a:pt x="552" y="879"/>
                  </a:lnTo>
                  <a:lnTo>
                    <a:pt x="544" y="888"/>
                  </a:lnTo>
                  <a:lnTo>
                    <a:pt x="533" y="897"/>
                  </a:lnTo>
                  <a:lnTo>
                    <a:pt x="522" y="903"/>
                  </a:lnTo>
                  <a:lnTo>
                    <a:pt x="514" y="905"/>
                  </a:lnTo>
                  <a:lnTo>
                    <a:pt x="506" y="908"/>
                  </a:lnTo>
                  <a:lnTo>
                    <a:pt x="498" y="908"/>
                  </a:lnTo>
                  <a:lnTo>
                    <a:pt x="490" y="910"/>
                  </a:lnTo>
                  <a:lnTo>
                    <a:pt x="482" y="908"/>
                  </a:lnTo>
                  <a:lnTo>
                    <a:pt x="475" y="907"/>
                  </a:lnTo>
                  <a:lnTo>
                    <a:pt x="468" y="904"/>
                  </a:lnTo>
                  <a:lnTo>
                    <a:pt x="460" y="901"/>
                  </a:lnTo>
                  <a:lnTo>
                    <a:pt x="456" y="900"/>
                  </a:lnTo>
                  <a:lnTo>
                    <a:pt x="452" y="900"/>
                  </a:lnTo>
                  <a:lnTo>
                    <a:pt x="447" y="900"/>
                  </a:lnTo>
                  <a:lnTo>
                    <a:pt x="443" y="901"/>
                  </a:lnTo>
                  <a:lnTo>
                    <a:pt x="440" y="905"/>
                  </a:lnTo>
                  <a:lnTo>
                    <a:pt x="434" y="910"/>
                  </a:lnTo>
                  <a:lnTo>
                    <a:pt x="509" y="1039"/>
                  </a:lnTo>
                  <a:lnTo>
                    <a:pt x="544" y="1018"/>
                  </a:lnTo>
                  <a:lnTo>
                    <a:pt x="582" y="1001"/>
                  </a:lnTo>
                  <a:lnTo>
                    <a:pt x="620" y="986"/>
                  </a:lnTo>
                  <a:lnTo>
                    <a:pt x="659" y="973"/>
                  </a:lnTo>
                  <a:lnTo>
                    <a:pt x="700" y="964"/>
                  </a:lnTo>
                  <a:lnTo>
                    <a:pt x="741" y="957"/>
                  </a:lnTo>
                  <a:lnTo>
                    <a:pt x="763" y="954"/>
                  </a:lnTo>
                  <a:lnTo>
                    <a:pt x="784" y="952"/>
                  </a:lnTo>
                  <a:lnTo>
                    <a:pt x="805" y="951"/>
                  </a:lnTo>
                  <a:lnTo>
                    <a:pt x="827" y="951"/>
                  </a:lnTo>
                  <a:lnTo>
                    <a:pt x="858" y="951"/>
                  </a:lnTo>
                  <a:lnTo>
                    <a:pt x="890" y="954"/>
                  </a:lnTo>
                  <a:lnTo>
                    <a:pt x="921" y="957"/>
                  </a:lnTo>
                  <a:lnTo>
                    <a:pt x="952" y="962"/>
                  </a:lnTo>
                  <a:lnTo>
                    <a:pt x="981" y="970"/>
                  </a:lnTo>
                  <a:lnTo>
                    <a:pt x="1010" y="979"/>
                  </a:lnTo>
                  <a:lnTo>
                    <a:pt x="1039" y="987"/>
                  </a:lnTo>
                  <a:lnTo>
                    <a:pt x="1067" y="999"/>
                  </a:lnTo>
                  <a:lnTo>
                    <a:pt x="1095" y="1011"/>
                  </a:lnTo>
                  <a:lnTo>
                    <a:pt x="1121" y="1025"/>
                  </a:lnTo>
                  <a:lnTo>
                    <a:pt x="1148" y="1040"/>
                  </a:lnTo>
                  <a:lnTo>
                    <a:pt x="1173" y="1056"/>
                  </a:lnTo>
                  <a:lnTo>
                    <a:pt x="1196" y="1074"/>
                  </a:lnTo>
                  <a:lnTo>
                    <a:pt x="1219" y="1091"/>
                  </a:lnTo>
                  <a:lnTo>
                    <a:pt x="1243" y="1110"/>
                  </a:lnTo>
                  <a:lnTo>
                    <a:pt x="1265" y="1131"/>
                  </a:lnTo>
                  <a:lnTo>
                    <a:pt x="1285" y="1153"/>
                  </a:lnTo>
                  <a:lnTo>
                    <a:pt x="1304" y="1175"/>
                  </a:lnTo>
                  <a:lnTo>
                    <a:pt x="1323" y="1198"/>
                  </a:lnTo>
                  <a:lnTo>
                    <a:pt x="1339" y="1223"/>
                  </a:lnTo>
                  <a:lnTo>
                    <a:pt x="1355" y="1248"/>
                  </a:lnTo>
                  <a:lnTo>
                    <a:pt x="1371" y="1274"/>
                  </a:lnTo>
                  <a:lnTo>
                    <a:pt x="1385" y="1300"/>
                  </a:lnTo>
                  <a:lnTo>
                    <a:pt x="1398" y="1327"/>
                  </a:lnTo>
                  <a:lnTo>
                    <a:pt x="1408" y="1356"/>
                  </a:lnTo>
                  <a:lnTo>
                    <a:pt x="1418" y="1384"/>
                  </a:lnTo>
                  <a:lnTo>
                    <a:pt x="1427" y="1413"/>
                  </a:lnTo>
                  <a:lnTo>
                    <a:pt x="1434" y="1444"/>
                  </a:lnTo>
                  <a:lnTo>
                    <a:pt x="1439" y="1473"/>
                  </a:lnTo>
                  <a:lnTo>
                    <a:pt x="1443" y="1504"/>
                  </a:lnTo>
                  <a:lnTo>
                    <a:pt x="1446" y="1536"/>
                  </a:lnTo>
                  <a:lnTo>
                    <a:pt x="1448" y="1566"/>
                  </a:lnTo>
                  <a:lnTo>
                    <a:pt x="1594" y="1566"/>
                  </a:lnTo>
                </a:path>
              </a:pathLst>
            </a:custGeom>
            <a:solidFill>
              <a:schemeClr val="accent4"/>
            </a:solidFill>
            <a:ln w="19050">
              <a:solidFill>
                <a:srgbClr val="FFFFFF"/>
              </a:solidFill>
              <a:round/>
              <a:headEnd/>
              <a:tailEnd/>
            </a:ln>
          </p:spPr>
          <p:txBody>
            <a:bodyPr/>
            <a:lstStyle/>
            <a:p>
              <a:pPr algn="r" rtl="0" fontAlgn="base">
                <a:lnSpc>
                  <a:spcPct val="86000"/>
                </a:lnSpc>
                <a:spcBef>
                  <a:spcPct val="0"/>
                </a:spcBef>
                <a:spcAft>
                  <a:spcPct val="0"/>
                </a:spcAft>
                <a:defRPr/>
              </a:pPr>
              <a:endParaRPr lang="fr-ca" kern="0" dirty="0">
                <a:solidFill>
                  <a:srgbClr val="000000"/>
                </a:solidFill>
                <a:latin typeface="Arial" charset="0"/>
              </a:endParaRPr>
            </a:p>
          </p:txBody>
        </p:sp>
        <p:sp>
          <p:nvSpPr>
            <p:cNvPr id="7" name="Freeform 4">
              <a:extLst>
                <a:ext uri="{FF2B5EF4-FFF2-40B4-BE49-F238E27FC236}">
                  <a16:creationId xmlns:a16="http://schemas.microsoft.com/office/drawing/2014/main" id="{35872ACB-3785-4FAE-9859-5215B64C73BC}"/>
                </a:ext>
              </a:extLst>
            </p:cNvPr>
            <p:cNvSpPr>
              <a:spLocks/>
            </p:cNvSpPr>
            <p:nvPr/>
          </p:nvSpPr>
          <p:spPr bwMode="gray">
            <a:xfrm>
              <a:off x="658" y="1389"/>
              <a:ext cx="860" cy="637"/>
            </a:xfrm>
            <a:custGeom>
              <a:avLst/>
              <a:gdLst>
                <a:gd name="T0" fmla="*/ 380 w 2350"/>
                <a:gd name="T1" fmla="*/ 822 h 1738"/>
                <a:gd name="T2" fmla="*/ 367 w 2350"/>
                <a:gd name="T3" fmla="*/ 781 h 1738"/>
                <a:gd name="T4" fmla="*/ 314 w 2350"/>
                <a:gd name="T5" fmla="*/ 749 h 1738"/>
                <a:gd name="T6" fmla="*/ 260 w 2350"/>
                <a:gd name="T7" fmla="*/ 771 h 1738"/>
                <a:gd name="T8" fmla="*/ 254 w 2350"/>
                <a:gd name="T9" fmla="*/ 783 h 1738"/>
                <a:gd name="T10" fmla="*/ 272 w 2350"/>
                <a:gd name="T11" fmla="*/ 850 h 1738"/>
                <a:gd name="T12" fmla="*/ 320 w 2350"/>
                <a:gd name="T13" fmla="*/ 871 h 1738"/>
                <a:gd name="T14" fmla="*/ 357 w 2350"/>
                <a:gd name="T15" fmla="*/ 868 h 1738"/>
                <a:gd name="T16" fmla="*/ 369 w 2350"/>
                <a:gd name="T17" fmla="*/ 891 h 1738"/>
                <a:gd name="T18" fmla="*/ 130 w 2350"/>
                <a:gd name="T19" fmla="*/ 1315 h 1738"/>
                <a:gd name="T20" fmla="*/ 149 w 2350"/>
                <a:gd name="T21" fmla="*/ 1337 h 1738"/>
                <a:gd name="T22" fmla="*/ 187 w 2350"/>
                <a:gd name="T23" fmla="*/ 1330 h 1738"/>
                <a:gd name="T24" fmla="*/ 240 w 2350"/>
                <a:gd name="T25" fmla="*/ 1353 h 1738"/>
                <a:gd name="T26" fmla="*/ 252 w 2350"/>
                <a:gd name="T27" fmla="*/ 1420 h 1738"/>
                <a:gd name="T28" fmla="*/ 252 w 2350"/>
                <a:gd name="T29" fmla="*/ 1422 h 1738"/>
                <a:gd name="T30" fmla="*/ 189 w 2350"/>
                <a:gd name="T31" fmla="*/ 1448 h 1738"/>
                <a:gd name="T32" fmla="*/ 139 w 2350"/>
                <a:gd name="T33" fmla="*/ 1417 h 1738"/>
                <a:gd name="T34" fmla="*/ 124 w 2350"/>
                <a:gd name="T35" fmla="*/ 1381 h 1738"/>
                <a:gd name="T36" fmla="*/ 97 w 2350"/>
                <a:gd name="T37" fmla="*/ 1377 h 1738"/>
                <a:gd name="T38" fmla="*/ 70 w 2350"/>
                <a:gd name="T39" fmla="*/ 1568 h 1738"/>
                <a:gd name="T40" fmla="*/ 513 w 2350"/>
                <a:gd name="T41" fmla="*/ 1716 h 1738"/>
                <a:gd name="T42" fmla="*/ 968 w 2350"/>
                <a:gd name="T43" fmla="*/ 1727 h 1738"/>
                <a:gd name="T44" fmla="*/ 1403 w 2350"/>
                <a:gd name="T45" fmla="*/ 1610 h 1738"/>
                <a:gd name="T46" fmla="*/ 1790 w 2350"/>
                <a:gd name="T47" fmla="*/ 1372 h 1738"/>
                <a:gd name="T48" fmla="*/ 2100 w 2350"/>
                <a:gd name="T49" fmla="*/ 1023 h 1738"/>
                <a:gd name="T50" fmla="*/ 2255 w 2350"/>
                <a:gd name="T51" fmla="*/ 714 h 1738"/>
                <a:gd name="T52" fmla="*/ 2333 w 2350"/>
                <a:gd name="T53" fmla="*/ 413 h 1738"/>
                <a:gd name="T54" fmla="*/ 2173 w 2350"/>
                <a:gd name="T55" fmla="*/ 160 h 1738"/>
                <a:gd name="T56" fmla="*/ 2162 w 2350"/>
                <a:gd name="T57" fmla="*/ 148 h 1738"/>
                <a:gd name="T58" fmla="*/ 2166 w 2350"/>
                <a:gd name="T59" fmla="*/ 123 h 1738"/>
                <a:gd name="T60" fmla="*/ 2189 w 2350"/>
                <a:gd name="T61" fmla="*/ 84 h 1738"/>
                <a:gd name="T62" fmla="*/ 2173 w 2350"/>
                <a:gd name="T63" fmla="*/ 21 h 1738"/>
                <a:gd name="T64" fmla="*/ 2132 w 2350"/>
                <a:gd name="T65" fmla="*/ 0 h 1738"/>
                <a:gd name="T66" fmla="*/ 2109 w 2350"/>
                <a:gd name="T67" fmla="*/ 8 h 1738"/>
                <a:gd name="T68" fmla="*/ 2075 w 2350"/>
                <a:gd name="T69" fmla="*/ 71 h 1738"/>
                <a:gd name="T70" fmla="*/ 2093 w 2350"/>
                <a:gd name="T71" fmla="*/ 115 h 1738"/>
                <a:gd name="T72" fmla="*/ 2112 w 2350"/>
                <a:gd name="T73" fmla="*/ 139 h 1738"/>
                <a:gd name="T74" fmla="*/ 2100 w 2350"/>
                <a:gd name="T75" fmla="*/ 160 h 1738"/>
                <a:gd name="T76" fmla="*/ 1600 w 2350"/>
                <a:gd name="T77" fmla="*/ 180 h 1738"/>
                <a:gd name="T78" fmla="*/ 1619 w 2350"/>
                <a:gd name="T79" fmla="*/ 210 h 1738"/>
                <a:gd name="T80" fmla="*/ 1625 w 2350"/>
                <a:gd name="T81" fmla="*/ 262 h 1738"/>
                <a:gd name="T82" fmla="*/ 1577 w 2350"/>
                <a:gd name="T83" fmla="*/ 310 h 1738"/>
                <a:gd name="T84" fmla="*/ 1563 w 2350"/>
                <a:gd name="T85" fmla="*/ 312 h 1738"/>
                <a:gd name="T86" fmla="*/ 1518 w 2350"/>
                <a:gd name="T87" fmla="*/ 277 h 1738"/>
                <a:gd name="T88" fmla="*/ 1520 w 2350"/>
                <a:gd name="T89" fmla="*/ 214 h 1738"/>
                <a:gd name="T90" fmla="*/ 1547 w 2350"/>
                <a:gd name="T91" fmla="*/ 183 h 1738"/>
                <a:gd name="T92" fmla="*/ 1401 w 2350"/>
                <a:gd name="T93" fmla="*/ 158 h 1738"/>
                <a:gd name="T94" fmla="*/ 1357 w 2350"/>
                <a:gd name="T95" fmla="*/ 403 h 1738"/>
                <a:gd name="T96" fmla="*/ 1284 w 2350"/>
                <a:gd name="T97" fmla="*/ 533 h 1738"/>
                <a:gd name="T98" fmla="*/ 1157 w 2350"/>
                <a:gd name="T99" fmla="*/ 663 h 1738"/>
                <a:gd name="T100" fmla="*/ 1000 w 2350"/>
                <a:gd name="T101" fmla="*/ 749 h 1738"/>
                <a:gd name="T102" fmla="*/ 826 w 2350"/>
                <a:gd name="T103" fmla="*/ 787 h 1738"/>
                <a:gd name="T104" fmla="*/ 648 w 2350"/>
                <a:gd name="T105" fmla="*/ 774 h 1738"/>
                <a:gd name="T106" fmla="*/ 475 w 2350"/>
                <a:gd name="T107" fmla="*/ 707 h 1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50" h="1738">
                  <a:moveTo>
                    <a:pt x="401" y="835"/>
                  </a:moveTo>
                  <a:lnTo>
                    <a:pt x="393" y="834"/>
                  </a:lnTo>
                  <a:lnTo>
                    <a:pt x="388" y="833"/>
                  </a:lnTo>
                  <a:lnTo>
                    <a:pt x="385" y="830"/>
                  </a:lnTo>
                  <a:lnTo>
                    <a:pt x="382" y="827"/>
                  </a:lnTo>
                  <a:lnTo>
                    <a:pt x="380" y="822"/>
                  </a:lnTo>
                  <a:lnTo>
                    <a:pt x="379" y="816"/>
                  </a:lnTo>
                  <a:lnTo>
                    <a:pt x="377" y="809"/>
                  </a:lnTo>
                  <a:lnTo>
                    <a:pt x="376" y="802"/>
                  </a:lnTo>
                  <a:lnTo>
                    <a:pt x="374" y="795"/>
                  </a:lnTo>
                  <a:lnTo>
                    <a:pt x="371" y="787"/>
                  </a:lnTo>
                  <a:lnTo>
                    <a:pt x="367" y="781"/>
                  </a:lnTo>
                  <a:lnTo>
                    <a:pt x="361" y="774"/>
                  </a:lnTo>
                  <a:lnTo>
                    <a:pt x="357" y="768"/>
                  </a:lnTo>
                  <a:lnTo>
                    <a:pt x="350" y="764"/>
                  </a:lnTo>
                  <a:lnTo>
                    <a:pt x="338" y="756"/>
                  </a:lnTo>
                  <a:lnTo>
                    <a:pt x="326" y="752"/>
                  </a:lnTo>
                  <a:lnTo>
                    <a:pt x="314" y="749"/>
                  </a:lnTo>
                  <a:lnTo>
                    <a:pt x="301" y="749"/>
                  </a:lnTo>
                  <a:lnTo>
                    <a:pt x="290" y="752"/>
                  </a:lnTo>
                  <a:lnTo>
                    <a:pt x="279" y="755"/>
                  </a:lnTo>
                  <a:lnTo>
                    <a:pt x="269" y="762"/>
                  </a:lnTo>
                  <a:lnTo>
                    <a:pt x="260" y="771"/>
                  </a:lnTo>
                  <a:lnTo>
                    <a:pt x="254" y="783"/>
                  </a:lnTo>
                  <a:lnTo>
                    <a:pt x="252" y="793"/>
                  </a:lnTo>
                  <a:lnTo>
                    <a:pt x="252" y="805"/>
                  </a:lnTo>
                  <a:lnTo>
                    <a:pt x="253" y="818"/>
                  </a:lnTo>
                  <a:lnTo>
                    <a:pt x="257" y="828"/>
                  </a:lnTo>
                  <a:lnTo>
                    <a:pt x="265" y="840"/>
                  </a:lnTo>
                  <a:lnTo>
                    <a:pt x="272" y="850"/>
                  </a:lnTo>
                  <a:lnTo>
                    <a:pt x="284" y="857"/>
                  </a:lnTo>
                  <a:lnTo>
                    <a:pt x="290" y="862"/>
                  </a:lnTo>
                  <a:lnTo>
                    <a:pt x="298" y="866"/>
                  </a:lnTo>
                  <a:lnTo>
                    <a:pt x="306" y="868"/>
                  </a:lnTo>
                  <a:lnTo>
                    <a:pt x="313" y="869"/>
                  </a:lnTo>
                  <a:lnTo>
                    <a:pt x="320" y="871"/>
                  </a:lnTo>
                  <a:lnTo>
                    <a:pt x="329" y="871"/>
                  </a:lnTo>
                  <a:lnTo>
                    <a:pt x="336" y="869"/>
                  </a:lnTo>
                  <a:lnTo>
                    <a:pt x="344" y="868"/>
                  </a:lnTo>
                  <a:lnTo>
                    <a:pt x="348" y="866"/>
                  </a:lnTo>
                  <a:lnTo>
                    <a:pt x="352" y="868"/>
                  </a:lnTo>
                  <a:lnTo>
                    <a:pt x="357" y="868"/>
                  </a:lnTo>
                  <a:lnTo>
                    <a:pt x="360" y="871"/>
                  </a:lnTo>
                  <a:lnTo>
                    <a:pt x="363" y="873"/>
                  </a:lnTo>
                  <a:lnTo>
                    <a:pt x="366" y="878"/>
                  </a:lnTo>
                  <a:lnTo>
                    <a:pt x="369" y="885"/>
                  </a:lnTo>
                  <a:lnTo>
                    <a:pt x="369" y="890"/>
                  </a:lnTo>
                  <a:lnTo>
                    <a:pt x="369" y="891"/>
                  </a:lnTo>
                  <a:lnTo>
                    <a:pt x="254" y="1090"/>
                  </a:lnTo>
                  <a:lnTo>
                    <a:pt x="214" y="1159"/>
                  </a:lnTo>
                  <a:lnTo>
                    <a:pt x="124" y="1314"/>
                  </a:lnTo>
                  <a:lnTo>
                    <a:pt x="127" y="1315"/>
                  </a:lnTo>
                  <a:lnTo>
                    <a:pt x="130" y="1315"/>
                  </a:lnTo>
                  <a:lnTo>
                    <a:pt x="130" y="1321"/>
                  </a:lnTo>
                  <a:lnTo>
                    <a:pt x="133" y="1327"/>
                  </a:lnTo>
                  <a:lnTo>
                    <a:pt x="137" y="1331"/>
                  </a:lnTo>
                  <a:lnTo>
                    <a:pt x="140" y="1334"/>
                  </a:lnTo>
                  <a:lnTo>
                    <a:pt x="145" y="1336"/>
                  </a:lnTo>
                  <a:lnTo>
                    <a:pt x="149" y="1337"/>
                  </a:lnTo>
                  <a:lnTo>
                    <a:pt x="154" y="1337"/>
                  </a:lnTo>
                  <a:lnTo>
                    <a:pt x="158" y="1336"/>
                  </a:lnTo>
                  <a:lnTo>
                    <a:pt x="165" y="1333"/>
                  </a:lnTo>
                  <a:lnTo>
                    <a:pt x="173" y="1331"/>
                  </a:lnTo>
                  <a:lnTo>
                    <a:pt x="180" y="1330"/>
                  </a:lnTo>
                  <a:lnTo>
                    <a:pt x="187" y="1330"/>
                  </a:lnTo>
                  <a:lnTo>
                    <a:pt x="196" y="1330"/>
                  </a:lnTo>
                  <a:lnTo>
                    <a:pt x="203" y="1331"/>
                  </a:lnTo>
                  <a:lnTo>
                    <a:pt x="211" y="1334"/>
                  </a:lnTo>
                  <a:lnTo>
                    <a:pt x="219" y="1338"/>
                  </a:lnTo>
                  <a:lnTo>
                    <a:pt x="230" y="1344"/>
                  </a:lnTo>
                  <a:lnTo>
                    <a:pt x="240" y="1353"/>
                  </a:lnTo>
                  <a:lnTo>
                    <a:pt x="247" y="1363"/>
                  </a:lnTo>
                  <a:lnTo>
                    <a:pt x="253" y="1375"/>
                  </a:lnTo>
                  <a:lnTo>
                    <a:pt x="256" y="1387"/>
                  </a:lnTo>
                  <a:lnTo>
                    <a:pt x="257" y="1398"/>
                  </a:lnTo>
                  <a:lnTo>
                    <a:pt x="256" y="1410"/>
                  </a:lnTo>
                  <a:lnTo>
                    <a:pt x="252" y="1420"/>
                  </a:lnTo>
                  <a:lnTo>
                    <a:pt x="252" y="1422"/>
                  </a:lnTo>
                  <a:lnTo>
                    <a:pt x="244" y="1431"/>
                  </a:lnTo>
                  <a:lnTo>
                    <a:pt x="235" y="1439"/>
                  </a:lnTo>
                  <a:lnTo>
                    <a:pt x="224" y="1444"/>
                  </a:lnTo>
                  <a:lnTo>
                    <a:pt x="214" y="1448"/>
                  </a:lnTo>
                  <a:lnTo>
                    <a:pt x="200" y="1450"/>
                  </a:lnTo>
                  <a:lnTo>
                    <a:pt x="189" y="1448"/>
                  </a:lnTo>
                  <a:lnTo>
                    <a:pt x="175" y="1445"/>
                  </a:lnTo>
                  <a:lnTo>
                    <a:pt x="164" y="1439"/>
                  </a:lnTo>
                  <a:lnTo>
                    <a:pt x="156" y="1435"/>
                  </a:lnTo>
                  <a:lnTo>
                    <a:pt x="151" y="1429"/>
                  </a:lnTo>
                  <a:lnTo>
                    <a:pt x="145" y="1423"/>
                  </a:lnTo>
                  <a:lnTo>
                    <a:pt x="139" y="1417"/>
                  </a:lnTo>
                  <a:lnTo>
                    <a:pt x="136" y="1412"/>
                  </a:lnTo>
                  <a:lnTo>
                    <a:pt x="133" y="1404"/>
                  </a:lnTo>
                  <a:lnTo>
                    <a:pt x="130" y="1397"/>
                  </a:lnTo>
                  <a:lnTo>
                    <a:pt x="129" y="1390"/>
                  </a:lnTo>
                  <a:lnTo>
                    <a:pt x="127" y="1385"/>
                  </a:lnTo>
                  <a:lnTo>
                    <a:pt x="124" y="1381"/>
                  </a:lnTo>
                  <a:lnTo>
                    <a:pt x="121" y="1378"/>
                  </a:lnTo>
                  <a:lnTo>
                    <a:pt x="118" y="1375"/>
                  </a:lnTo>
                  <a:lnTo>
                    <a:pt x="114" y="1375"/>
                  </a:lnTo>
                  <a:lnTo>
                    <a:pt x="108" y="1374"/>
                  </a:lnTo>
                  <a:lnTo>
                    <a:pt x="102" y="1374"/>
                  </a:lnTo>
                  <a:lnTo>
                    <a:pt x="97" y="1377"/>
                  </a:lnTo>
                  <a:lnTo>
                    <a:pt x="97" y="1378"/>
                  </a:lnTo>
                  <a:lnTo>
                    <a:pt x="95" y="1379"/>
                  </a:lnTo>
                  <a:lnTo>
                    <a:pt x="92" y="1378"/>
                  </a:lnTo>
                  <a:lnTo>
                    <a:pt x="89" y="1375"/>
                  </a:lnTo>
                  <a:lnTo>
                    <a:pt x="0" y="1530"/>
                  </a:lnTo>
                  <a:lnTo>
                    <a:pt x="70" y="1568"/>
                  </a:lnTo>
                  <a:lnTo>
                    <a:pt x="142" y="1603"/>
                  </a:lnTo>
                  <a:lnTo>
                    <a:pt x="215" y="1632"/>
                  </a:lnTo>
                  <a:lnTo>
                    <a:pt x="290" y="1660"/>
                  </a:lnTo>
                  <a:lnTo>
                    <a:pt x="363" y="1682"/>
                  </a:lnTo>
                  <a:lnTo>
                    <a:pt x="439" y="1701"/>
                  </a:lnTo>
                  <a:lnTo>
                    <a:pt x="513" y="1716"/>
                  </a:lnTo>
                  <a:lnTo>
                    <a:pt x="589" y="1727"/>
                  </a:lnTo>
                  <a:lnTo>
                    <a:pt x="665" y="1735"/>
                  </a:lnTo>
                  <a:lnTo>
                    <a:pt x="741" y="1738"/>
                  </a:lnTo>
                  <a:lnTo>
                    <a:pt x="818" y="1738"/>
                  </a:lnTo>
                  <a:lnTo>
                    <a:pt x="892" y="1735"/>
                  </a:lnTo>
                  <a:lnTo>
                    <a:pt x="968" y="1727"/>
                  </a:lnTo>
                  <a:lnTo>
                    <a:pt x="1043" y="1716"/>
                  </a:lnTo>
                  <a:lnTo>
                    <a:pt x="1116" y="1701"/>
                  </a:lnTo>
                  <a:lnTo>
                    <a:pt x="1189" y="1684"/>
                  </a:lnTo>
                  <a:lnTo>
                    <a:pt x="1262" y="1663"/>
                  </a:lnTo>
                  <a:lnTo>
                    <a:pt x="1332" y="1638"/>
                  </a:lnTo>
                  <a:lnTo>
                    <a:pt x="1403" y="1610"/>
                  </a:lnTo>
                  <a:lnTo>
                    <a:pt x="1471" y="1578"/>
                  </a:lnTo>
                  <a:lnTo>
                    <a:pt x="1539" y="1543"/>
                  </a:lnTo>
                  <a:lnTo>
                    <a:pt x="1604" y="1505"/>
                  </a:lnTo>
                  <a:lnTo>
                    <a:pt x="1667" y="1464"/>
                  </a:lnTo>
                  <a:lnTo>
                    <a:pt x="1730" y="1420"/>
                  </a:lnTo>
                  <a:lnTo>
                    <a:pt x="1790" y="1372"/>
                  </a:lnTo>
                  <a:lnTo>
                    <a:pt x="1847" y="1322"/>
                  </a:lnTo>
                  <a:lnTo>
                    <a:pt x="1903" y="1268"/>
                  </a:lnTo>
                  <a:lnTo>
                    <a:pt x="1957" y="1211"/>
                  </a:lnTo>
                  <a:lnTo>
                    <a:pt x="2007" y="1151"/>
                  </a:lnTo>
                  <a:lnTo>
                    <a:pt x="2055" y="1088"/>
                  </a:lnTo>
                  <a:lnTo>
                    <a:pt x="2100" y="1023"/>
                  </a:lnTo>
                  <a:lnTo>
                    <a:pt x="2141" y="954"/>
                  </a:lnTo>
                  <a:lnTo>
                    <a:pt x="2167" y="907"/>
                  </a:lnTo>
                  <a:lnTo>
                    <a:pt x="2192" y="859"/>
                  </a:lnTo>
                  <a:lnTo>
                    <a:pt x="2214" y="811"/>
                  </a:lnTo>
                  <a:lnTo>
                    <a:pt x="2236" y="762"/>
                  </a:lnTo>
                  <a:lnTo>
                    <a:pt x="2255" y="714"/>
                  </a:lnTo>
                  <a:lnTo>
                    <a:pt x="2271" y="664"/>
                  </a:lnTo>
                  <a:lnTo>
                    <a:pt x="2287" y="615"/>
                  </a:lnTo>
                  <a:lnTo>
                    <a:pt x="2301" y="565"/>
                  </a:lnTo>
                  <a:lnTo>
                    <a:pt x="2314" y="514"/>
                  </a:lnTo>
                  <a:lnTo>
                    <a:pt x="2324" y="464"/>
                  </a:lnTo>
                  <a:lnTo>
                    <a:pt x="2333" y="413"/>
                  </a:lnTo>
                  <a:lnTo>
                    <a:pt x="2340" y="363"/>
                  </a:lnTo>
                  <a:lnTo>
                    <a:pt x="2344" y="312"/>
                  </a:lnTo>
                  <a:lnTo>
                    <a:pt x="2349" y="261"/>
                  </a:lnTo>
                  <a:lnTo>
                    <a:pt x="2350" y="210"/>
                  </a:lnTo>
                  <a:lnTo>
                    <a:pt x="2350" y="160"/>
                  </a:lnTo>
                  <a:lnTo>
                    <a:pt x="2173" y="160"/>
                  </a:lnTo>
                  <a:lnTo>
                    <a:pt x="2173" y="158"/>
                  </a:lnTo>
                  <a:lnTo>
                    <a:pt x="2173" y="157"/>
                  </a:lnTo>
                  <a:lnTo>
                    <a:pt x="2172" y="157"/>
                  </a:lnTo>
                  <a:lnTo>
                    <a:pt x="2170" y="157"/>
                  </a:lnTo>
                  <a:lnTo>
                    <a:pt x="2166" y="154"/>
                  </a:lnTo>
                  <a:lnTo>
                    <a:pt x="2162" y="148"/>
                  </a:lnTo>
                  <a:lnTo>
                    <a:pt x="2160" y="142"/>
                  </a:lnTo>
                  <a:lnTo>
                    <a:pt x="2159" y="139"/>
                  </a:lnTo>
                  <a:lnTo>
                    <a:pt x="2159" y="135"/>
                  </a:lnTo>
                  <a:lnTo>
                    <a:pt x="2160" y="131"/>
                  </a:lnTo>
                  <a:lnTo>
                    <a:pt x="2162" y="126"/>
                  </a:lnTo>
                  <a:lnTo>
                    <a:pt x="2166" y="123"/>
                  </a:lnTo>
                  <a:lnTo>
                    <a:pt x="2172" y="117"/>
                  </a:lnTo>
                  <a:lnTo>
                    <a:pt x="2176" y="112"/>
                  </a:lnTo>
                  <a:lnTo>
                    <a:pt x="2181" y="106"/>
                  </a:lnTo>
                  <a:lnTo>
                    <a:pt x="2184" y="98"/>
                  </a:lnTo>
                  <a:lnTo>
                    <a:pt x="2188" y="91"/>
                  </a:lnTo>
                  <a:lnTo>
                    <a:pt x="2189" y="84"/>
                  </a:lnTo>
                  <a:lnTo>
                    <a:pt x="2191" y="77"/>
                  </a:lnTo>
                  <a:lnTo>
                    <a:pt x="2191" y="68"/>
                  </a:lnTo>
                  <a:lnTo>
                    <a:pt x="2189" y="55"/>
                  </a:lnTo>
                  <a:lnTo>
                    <a:pt x="2186" y="41"/>
                  </a:lnTo>
                  <a:lnTo>
                    <a:pt x="2181" y="30"/>
                  </a:lnTo>
                  <a:lnTo>
                    <a:pt x="2173" y="21"/>
                  </a:lnTo>
                  <a:lnTo>
                    <a:pt x="2164" y="12"/>
                  </a:lnTo>
                  <a:lnTo>
                    <a:pt x="2156" y="6"/>
                  </a:lnTo>
                  <a:lnTo>
                    <a:pt x="2144" y="2"/>
                  </a:lnTo>
                  <a:lnTo>
                    <a:pt x="2132" y="0"/>
                  </a:lnTo>
                  <a:lnTo>
                    <a:pt x="2131" y="0"/>
                  </a:lnTo>
                  <a:lnTo>
                    <a:pt x="2119" y="2"/>
                  </a:lnTo>
                  <a:lnTo>
                    <a:pt x="2109" y="8"/>
                  </a:lnTo>
                  <a:lnTo>
                    <a:pt x="2099" y="14"/>
                  </a:lnTo>
                  <a:lnTo>
                    <a:pt x="2091" y="22"/>
                  </a:lnTo>
                  <a:lnTo>
                    <a:pt x="2084" y="33"/>
                  </a:lnTo>
                  <a:lnTo>
                    <a:pt x="2080" y="44"/>
                  </a:lnTo>
                  <a:lnTo>
                    <a:pt x="2077" y="58"/>
                  </a:lnTo>
                  <a:lnTo>
                    <a:pt x="2075" y="71"/>
                  </a:lnTo>
                  <a:lnTo>
                    <a:pt x="2077" y="79"/>
                  </a:lnTo>
                  <a:lnTo>
                    <a:pt x="2078" y="87"/>
                  </a:lnTo>
                  <a:lnTo>
                    <a:pt x="2081" y="94"/>
                  </a:lnTo>
                  <a:lnTo>
                    <a:pt x="2084" y="101"/>
                  </a:lnTo>
                  <a:lnTo>
                    <a:pt x="2088" y="109"/>
                  </a:lnTo>
                  <a:lnTo>
                    <a:pt x="2093" y="115"/>
                  </a:lnTo>
                  <a:lnTo>
                    <a:pt x="2099" y="119"/>
                  </a:lnTo>
                  <a:lnTo>
                    <a:pt x="2103" y="125"/>
                  </a:lnTo>
                  <a:lnTo>
                    <a:pt x="2107" y="128"/>
                  </a:lnTo>
                  <a:lnTo>
                    <a:pt x="2110" y="132"/>
                  </a:lnTo>
                  <a:lnTo>
                    <a:pt x="2112" y="135"/>
                  </a:lnTo>
                  <a:lnTo>
                    <a:pt x="2112" y="139"/>
                  </a:lnTo>
                  <a:lnTo>
                    <a:pt x="2110" y="144"/>
                  </a:lnTo>
                  <a:lnTo>
                    <a:pt x="2109" y="150"/>
                  </a:lnTo>
                  <a:lnTo>
                    <a:pt x="2105" y="155"/>
                  </a:lnTo>
                  <a:lnTo>
                    <a:pt x="2100" y="158"/>
                  </a:lnTo>
                  <a:lnTo>
                    <a:pt x="2100" y="160"/>
                  </a:lnTo>
                  <a:lnTo>
                    <a:pt x="1612" y="158"/>
                  </a:lnTo>
                  <a:lnTo>
                    <a:pt x="1607" y="163"/>
                  </a:lnTo>
                  <a:lnTo>
                    <a:pt x="1603" y="167"/>
                  </a:lnTo>
                  <a:lnTo>
                    <a:pt x="1601" y="172"/>
                  </a:lnTo>
                  <a:lnTo>
                    <a:pt x="1600" y="176"/>
                  </a:lnTo>
                  <a:lnTo>
                    <a:pt x="1600" y="180"/>
                  </a:lnTo>
                  <a:lnTo>
                    <a:pt x="1600" y="183"/>
                  </a:lnTo>
                  <a:lnTo>
                    <a:pt x="1603" y="188"/>
                  </a:lnTo>
                  <a:lnTo>
                    <a:pt x="1606" y="192"/>
                  </a:lnTo>
                  <a:lnTo>
                    <a:pt x="1610" y="198"/>
                  </a:lnTo>
                  <a:lnTo>
                    <a:pt x="1616" y="204"/>
                  </a:lnTo>
                  <a:lnTo>
                    <a:pt x="1619" y="210"/>
                  </a:lnTo>
                  <a:lnTo>
                    <a:pt x="1622" y="217"/>
                  </a:lnTo>
                  <a:lnTo>
                    <a:pt x="1625" y="224"/>
                  </a:lnTo>
                  <a:lnTo>
                    <a:pt x="1626" y="232"/>
                  </a:lnTo>
                  <a:lnTo>
                    <a:pt x="1628" y="240"/>
                  </a:lnTo>
                  <a:lnTo>
                    <a:pt x="1628" y="249"/>
                  </a:lnTo>
                  <a:lnTo>
                    <a:pt x="1625" y="262"/>
                  </a:lnTo>
                  <a:lnTo>
                    <a:pt x="1620" y="274"/>
                  </a:lnTo>
                  <a:lnTo>
                    <a:pt x="1615" y="286"/>
                  </a:lnTo>
                  <a:lnTo>
                    <a:pt x="1607" y="294"/>
                  </a:lnTo>
                  <a:lnTo>
                    <a:pt x="1597" y="302"/>
                  </a:lnTo>
                  <a:lnTo>
                    <a:pt x="1587" y="308"/>
                  </a:lnTo>
                  <a:lnTo>
                    <a:pt x="1577" y="310"/>
                  </a:lnTo>
                  <a:lnTo>
                    <a:pt x="1563" y="312"/>
                  </a:lnTo>
                  <a:lnTo>
                    <a:pt x="1552" y="309"/>
                  </a:lnTo>
                  <a:lnTo>
                    <a:pt x="1541" y="303"/>
                  </a:lnTo>
                  <a:lnTo>
                    <a:pt x="1531" y="296"/>
                  </a:lnTo>
                  <a:lnTo>
                    <a:pt x="1524" y="287"/>
                  </a:lnTo>
                  <a:lnTo>
                    <a:pt x="1518" y="277"/>
                  </a:lnTo>
                  <a:lnTo>
                    <a:pt x="1514" y="264"/>
                  </a:lnTo>
                  <a:lnTo>
                    <a:pt x="1512" y="252"/>
                  </a:lnTo>
                  <a:lnTo>
                    <a:pt x="1512" y="239"/>
                  </a:lnTo>
                  <a:lnTo>
                    <a:pt x="1514" y="230"/>
                  </a:lnTo>
                  <a:lnTo>
                    <a:pt x="1517" y="223"/>
                  </a:lnTo>
                  <a:lnTo>
                    <a:pt x="1520" y="214"/>
                  </a:lnTo>
                  <a:lnTo>
                    <a:pt x="1522" y="208"/>
                  </a:lnTo>
                  <a:lnTo>
                    <a:pt x="1527" y="201"/>
                  </a:lnTo>
                  <a:lnTo>
                    <a:pt x="1533" y="195"/>
                  </a:lnTo>
                  <a:lnTo>
                    <a:pt x="1539" y="191"/>
                  </a:lnTo>
                  <a:lnTo>
                    <a:pt x="1544" y="186"/>
                  </a:lnTo>
                  <a:lnTo>
                    <a:pt x="1547" y="183"/>
                  </a:lnTo>
                  <a:lnTo>
                    <a:pt x="1550" y="179"/>
                  </a:lnTo>
                  <a:lnTo>
                    <a:pt x="1552" y="176"/>
                  </a:lnTo>
                  <a:lnTo>
                    <a:pt x="1553" y="172"/>
                  </a:lnTo>
                  <a:lnTo>
                    <a:pt x="1552" y="166"/>
                  </a:lnTo>
                  <a:lnTo>
                    <a:pt x="1549" y="158"/>
                  </a:lnTo>
                  <a:lnTo>
                    <a:pt x="1401" y="158"/>
                  </a:lnTo>
                  <a:lnTo>
                    <a:pt x="1401" y="199"/>
                  </a:lnTo>
                  <a:lnTo>
                    <a:pt x="1398" y="240"/>
                  </a:lnTo>
                  <a:lnTo>
                    <a:pt x="1392" y="281"/>
                  </a:lnTo>
                  <a:lnTo>
                    <a:pt x="1382" y="322"/>
                  </a:lnTo>
                  <a:lnTo>
                    <a:pt x="1372" y="362"/>
                  </a:lnTo>
                  <a:lnTo>
                    <a:pt x="1357" y="403"/>
                  </a:lnTo>
                  <a:lnTo>
                    <a:pt x="1348" y="422"/>
                  </a:lnTo>
                  <a:lnTo>
                    <a:pt x="1340" y="441"/>
                  </a:lnTo>
                  <a:lnTo>
                    <a:pt x="1329" y="460"/>
                  </a:lnTo>
                  <a:lnTo>
                    <a:pt x="1319" y="479"/>
                  </a:lnTo>
                  <a:lnTo>
                    <a:pt x="1302" y="506"/>
                  </a:lnTo>
                  <a:lnTo>
                    <a:pt x="1284" y="533"/>
                  </a:lnTo>
                  <a:lnTo>
                    <a:pt x="1265" y="558"/>
                  </a:lnTo>
                  <a:lnTo>
                    <a:pt x="1246" y="581"/>
                  </a:lnTo>
                  <a:lnTo>
                    <a:pt x="1226" y="603"/>
                  </a:lnTo>
                  <a:lnTo>
                    <a:pt x="1204" y="623"/>
                  </a:lnTo>
                  <a:lnTo>
                    <a:pt x="1180" y="644"/>
                  </a:lnTo>
                  <a:lnTo>
                    <a:pt x="1157" y="663"/>
                  </a:lnTo>
                  <a:lnTo>
                    <a:pt x="1132" y="680"/>
                  </a:lnTo>
                  <a:lnTo>
                    <a:pt x="1107" y="697"/>
                  </a:lnTo>
                  <a:lnTo>
                    <a:pt x="1081" y="711"/>
                  </a:lnTo>
                  <a:lnTo>
                    <a:pt x="1054" y="726"/>
                  </a:lnTo>
                  <a:lnTo>
                    <a:pt x="1028" y="737"/>
                  </a:lnTo>
                  <a:lnTo>
                    <a:pt x="1000" y="749"/>
                  </a:lnTo>
                  <a:lnTo>
                    <a:pt x="973" y="758"/>
                  </a:lnTo>
                  <a:lnTo>
                    <a:pt x="943" y="767"/>
                  </a:lnTo>
                  <a:lnTo>
                    <a:pt x="916" y="774"/>
                  </a:lnTo>
                  <a:lnTo>
                    <a:pt x="886" y="780"/>
                  </a:lnTo>
                  <a:lnTo>
                    <a:pt x="856" y="784"/>
                  </a:lnTo>
                  <a:lnTo>
                    <a:pt x="826" y="787"/>
                  </a:lnTo>
                  <a:lnTo>
                    <a:pt x="797" y="789"/>
                  </a:lnTo>
                  <a:lnTo>
                    <a:pt x="766" y="789"/>
                  </a:lnTo>
                  <a:lnTo>
                    <a:pt x="737" y="787"/>
                  </a:lnTo>
                  <a:lnTo>
                    <a:pt x="708" y="784"/>
                  </a:lnTo>
                  <a:lnTo>
                    <a:pt x="677" y="780"/>
                  </a:lnTo>
                  <a:lnTo>
                    <a:pt x="648" y="774"/>
                  </a:lnTo>
                  <a:lnTo>
                    <a:pt x="619" y="767"/>
                  </a:lnTo>
                  <a:lnTo>
                    <a:pt x="589" y="758"/>
                  </a:lnTo>
                  <a:lnTo>
                    <a:pt x="560" y="748"/>
                  </a:lnTo>
                  <a:lnTo>
                    <a:pt x="531" y="736"/>
                  </a:lnTo>
                  <a:lnTo>
                    <a:pt x="503" y="723"/>
                  </a:lnTo>
                  <a:lnTo>
                    <a:pt x="475" y="707"/>
                  </a:lnTo>
                  <a:lnTo>
                    <a:pt x="401" y="835"/>
                  </a:lnTo>
                </a:path>
              </a:pathLst>
            </a:custGeom>
            <a:solidFill>
              <a:schemeClr val="accent5"/>
            </a:solidFill>
            <a:ln w="19050">
              <a:solidFill>
                <a:srgbClr val="FFFFFF"/>
              </a:solidFill>
              <a:round/>
              <a:headEnd/>
              <a:tailEnd/>
            </a:ln>
          </p:spPr>
          <p:txBody>
            <a:bodyPr/>
            <a:lstStyle/>
            <a:p>
              <a:pPr algn="r" rtl="0" fontAlgn="base">
                <a:lnSpc>
                  <a:spcPct val="86000"/>
                </a:lnSpc>
                <a:spcBef>
                  <a:spcPct val="0"/>
                </a:spcBef>
                <a:spcAft>
                  <a:spcPct val="0"/>
                </a:spcAft>
                <a:defRPr/>
              </a:pPr>
              <a:endParaRPr lang="fr-ca" kern="0" dirty="0">
                <a:solidFill>
                  <a:srgbClr val="000000"/>
                </a:solidFill>
                <a:latin typeface="Arial" charset="0"/>
              </a:endParaRPr>
            </a:p>
          </p:txBody>
        </p:sp>
        <p:sp>
          <p:nvSpPr>
            <p:cNvPr id="8" name="Freeform 5">
              <a:extLst>
                <a:ext uri="{FF2B5EF4-FFF2-40B4-BE49-F238E27FC236}">
                  <a16:creationId xmlns:a16="http://schemas.microsoft.com/office/drawing/2014/main" id="{EF4026EE-5CF4-40B6-8BB9-03EFC56AB567}"/>
                </a:ext>
              </a:extLst>
            </p:cNvPr>
            <p:cNvSpPr>
              <a:spLocks/>
            </p:cNvSpPr>
            <p:nvPr/>
          </p:nvSpPr>
          <p:spPr bwMode="gray">
            <a:xfrm>
              <a:off x="367" y="953"/>
              <a:ext cx="481" cy="997"/>
            </a:xfrm>
            <a:custGeom>
              <a:avLst/>
              <a:gdLst>
                <a:gd name="T0" fmla="*/ 1205 w 1312"/>
                <a:gd name="T1" fmla="*/ 683 h 2722"/>
                <a:gd name="T2" fmla="*/ 1246 w 1312"/>
                <a:gd name="T3" fmla="*/ 693 h 2722"/>
                <a:gd name="T4" fmla="*/ 1300 w 1312"/>
                <a:gd name="T5" fmla="*/ 663 h 2722"/>
                <a:gd name="T6" fmla="*/ 1309 w 1312"/>
                <a:gd name="T7" fmla="*/ 606 h 2722"/>
                <a:gd name="T8" fmla="*/ 1302 w 1312"/>
                <a:gd name="T9" fmla="*/ 595 h 2722"/>
                <a:gd name="T10" fmla="*/ 1235 w 1312"/>
                <a:gd name="T11" fmla="*/ 578 h 2722"/>
                <a:gd name="T12" fmla="*/ 1192 w 1312"/>
                <a:gd name="T13" fmla="*/ 609 h 2722"/>
                <a:gd name="T14" fmla="*/ 1176 w 1312"/>
                <a:gd name="T15" fmla="*/ 641 h 2722"/>
                <a:gd name="T16" fmla="*/ 1151 w 1312"/>
                <a:gd name="T17" fmla="*/ 639 h 2722"/>
                <a:gd name="T18" fmla="*/ 903 w 1312"/>
                <a:gd name="T19" fmla="*/ 221 h 2722"/>
                <a:gd name="T20" fmla="*/ 875 w 1312"/>
                <a:gd name="T21" fmla="*/ 227 h 2722"/>
                <a:gd name="T22" fmla="*/ 862 w 1312"/>
                <a:gd name="T23" fmla="*/ 263 h 2722"/>
                <a:gd name="T24" fmla="*/ 813 w 1312"/>
                <a:gd name="T25" fmla="*/ 297 h 2722"/>
                <a:gd name="T26" fmla="*/ 751 w 1312"/>
                <a:gd name="T27" fmla="*/ 274 h 2722"/>
                <a:gd name="T28" fmla="*/ 749 w 1312"/>
                <a:gd name="T29" fmla="*/ 272 h 2722"/>
                <a:gd name="T30" fmla="*/ 758 w 1312"/>
                <a:gd name="T31" fmla="*/ 205 h 2722"/>
                <a:gd name="T32" fmla="*/ 809 w 1312"/>
                <a:gd name="T33" fmla="*/ 179 h 2722"/>
                <a:gd name="T34" fmla="*/ 849 w 1312"/>
                <a:gd name="T35" fmla="*/ 183 h 2722"/>
                <a:gd name="T36" fmla="*/ 866 w 1312"/>
                <a:gd name="T37" fmla="*/ 161 h 2722"/>
                <a:gd name="T38" fmla="*/ 713 w 1312"/>
                <a:gd name="T39" fmla="*/ 43 h 2722"/>
                <a:gd name="T40" fmla="*/ 364 w 1312"/>
                <a:gd name="T41" fmla="*/ 353 h 2722"/>
                <a:gd name="T42" fmla="*/ 128 w 1312"/>
                <a:gd name="T43" fmla="*/ 740 h 2722"/>
                <a:gd name="T44" fmla="*/ 11 w 1312"/>
                <a:gd name="T45" fmla="*/ 1176 h 2722"/>
                <a:gd name="T46" fmla="*/ 22 w 1312"/>
                <a:gd name="T47" fmla="*/ 1629 h 2722"/>
                <a:gd name="T48" fmla="*/ 171 w 1312"/>
                <a:gd name="T49" fmla="*/ 2072 h 2722"/>
                <a:gd name="T50" fmla="*/ 362 w 1312"/>
                <a:gd name="T51" fmla="*/ 2362 h 2722"/>
                <a:gd name="T52" fmla="*/ 582 w 1312"/>
                <a:gd name="T53" fmla="*/ 2580 h 2722"/>
                <a:gd name="T54" fmla="*/ 881 w 1312"/>
                <a:gd name="T55" fmla="*/ 2568 h 2722"/>
                <a:gd name="T56" fmla="*/ 897 w 1312"/>
                <a:gd name="T57" fmla="*/ 2564 h 2722"/>
                <a:gd name="T58" fmla="*/ 917 w 1312"/>
                <a:gd name="T59" fmla="*/ 2580 h 2722"/>
                <a:gd name="T60" fmla="*/ 939 w 1312"/>
                <a:gd name="T61" fmla="*/ 2619 h 2722"/>
                <a:gd name="T62" fmla="*/ 1002 w 1312"/>
                <a:gd name="T63" fmla="*/ 2638 h 2722"/>
                <a:gd name="T64" fmla="*/ 1040 w 1312"/>
                <a:gd name="T65" fmla="*/ 2612 h 2722"/>
                <a:gd name="T66" fmla="*/ 1046 w 1312"/>
                <a:gd name="T67" fmla="*/ 2589 h 2722"/>
                <a:gd name="T68" fmla="*/ 1008 w 1312"/>
                <a:gd name="T69" fmla="*/ 2529 h 2722"/>
                <a:gd name="T70" fmla="*/ 961 w 1312"/>
                <a:gd name="T71" fmla="*/ 2521 h 2722"/>
                <a:gd name="T72" fmla="*/ 929 w 1312"/>
                <a:gd name="T73" fmla="*/ 2524 h 2722"/>
                <a:gd name="T74" fmla="*/ 917 w 1312"/>
                <a:gd name="T75" fmla="*/ 2505 h 2722"/>
                <a:gd name="T76" fmla="*/ 1151 w 1312"/>
                <a:gd name="T77" fmla="*/ 2061 h 2722"/>
                <a:gd name="T78" fmla="*/ 1115 w 1312"/>
                <a:gd name="T79" fmla="*/ 2064 h 2722"/>
                <a:gd name="T80" fmla="*/ 1066 w 1312"/>
                <a:gd name="T81" fmla="*/ 2043 h 2722"/>
                <a:gd name="T82" fmla="*/ 1049 w 1312"/>
                <a:gd name="T83" fmla="*/ 1976 h 2722"/>
                <a:gd name="T84" fmla="*/ 1055 w 1312"/>
                <a:gd name="T85" fmla="*/ 1964 h 2722"/>
                <a:gd name="T86" fmla="*/ 1107 w 1312"/>
                <a:gd name="T87" fmla="*/ 1942 h 2722"/>
                <a:gd name="T88" fmla="*/ 1162 w 1312"/>
                <a:gd name="T89" fmla="*/ 1974 h 2722"/>
                <a:gd name="T90" fmla="*/ 1175 w 1312"/>
                <a:gd name="T91" fmla="*/ 2015 h 2722"/>
                <a:gd name="T92" fmla="*/ 1268 w 1312"/>
                <a:gd name="T93" fmla="*/ 1900 h 2722"/>
                <a:gd name="T94" fmla="*/ 1080 w 1312"/>
                <a:gd name="T95" fmla="*/ 1740 h 2722"/>
                <a:gd name="T96" fmla="*/ 1004 w 1312"/>
                <a:gd name="T97" fmla="*/ 1612 h 2722"/>
                <a:gd name="T98" fmla="*/ 954 w 1312"/>
                <a:gd name="T99" fmla="*/ 1436 h 2722"/>
                <a:gd name="T100" fmla="*/ 958 w 1312"/>
                <a:gd name="T101" fmla="*/ 1258 h 2722"/>
                <a:gd name="T102" fmla="*/ 1011 w 1312"/>
                <a:gd name="T103" fmla="*/ 1088 h 2722"/>
                <a:gd name="T104" fmla="*/ 1112 w 1312"/>
                <a:gd name="T105" fmla="*/ 939 h 2722"/>
                <a:gd name="T106" fmla="*/ 1257 w 1312"/>
                <a:gd name="T107" fmla="*/ 824 h 27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12" h="2722">
                  <a:moveTo>
                    <a:pt x="1182" y="695"/>
                  </a:moveTo>
                  <a:lnTo>
                    <a:pt x="1188" y="689"/>
                  </a:lnTo>
                  <a:lnTo>
                    <a:pt x="1192" y="686"/>
                  </a:lnTo>
                  <a:lnTo>
                    <a:pt x="1197" y="683"/>
                  </a:lnTo>
                  <a:lnTo>
                    <a:pt x="1201" y="683"/>
                  </a:lnTo>
                  <a:lnTo>
                    <a:pt x="1205" y="683"/>
                  </a:lnTo>
                  <a:lnTo>
                    <a:pt x="1210" y="686"/>
                  </a:lnTo>
                  <a:lnTo>
                    <a:pt x="1217" y="689"/>
                  </a:lnTo>
                  <a:lnTo>
                    <a:pt x="1223" y="690"/>
                  </a:lnTo>
                  <a:lnTo>
                    <a:pt x="1232" y="692"/>
                  </a:lnTo>
                  <a:lnTo>
                    <a:pt x="1239" y="693"/>
                  </a:lnTo>
                  <a:lnTo>
                    <a:pt x="1246" y="693"/>
                  </a:lnTo>
                  <a:lnTo>
                    <a:pt x="1255" y="692"/>
                  </a:lnTo>
                  <a:lnTo>
                    <a:pt x="1262" y="690"/>
                  </a:lnTo>
                  <a:lnTo>
                    <a:pt x="1270" y="688"/>
                  </a:lnTo>
                  <a:lnTo>
                    <a:pt x="1281" y="680"/>
                  </a:lnTo>
                  <a:lnTo>
                    <a:pt x="1292" y="673"/>
                  </a:lnTo>
                  <a:lnTo>
                    <a:pt x="1300" y="663"/>
                  </a:lnTo>
                  <a:lnTo>
                    <a:pt x="1306" y="652"/>
                  </a:lnTo>
                  <a:lnTo>
                    <a:pt x="1311" y="641"/>
                  </a:lnTo>
                  <a:lnTo>
                    <a:pt x="1312" y="629"/>
                  </a:lnTo>
                  <a:lnTo>
                    <a:pt x="1312" y="617"/>
                  </a:lnTo>
                  <a:lnTo>
                    <a:pt x="1309" y="606"/>
                  </a:lnTo>
                  <a:lnTo>
                    <a:pt x="1308" y="606"/>
                  </a:lnTo>
                  <a:lnTo>
                    <a:pt x="1302" y="595"/>
                  </a:lnTo>
                  <a:lnTo>
                    <a:pt x="1293" y="587"/>
                  </a:lnTo>
                  <a:lnTo>
                    <a:pt x="1283" y="581"/>
                  </a:lnTo>
                  <a:lnTo>
                    <a:pt x="1271" y="576"/>
                  </a:lnTo>
                  <a:lnTo>
                    <a:pt x="1260" y="575"/>
                  </a:lnTo>
                  <a:lnTo>
                    <a:pt x="1248" y="575"/>
                  </a:lnTo>
                  <a:lnTo>
                    <a:pt x="1235" y="578"/>
                  </a:lnTo>
                  <a:lnTo>
                    <a:pt x="1222" y="582"/>
                  </a:lnTo>
                  <a:lnTo>
                    <a:pt x="1214" y="587"/>
                  </a:lnTo>
                  <a:lnTo>
                    <a:pt x="1208" y="591"/>
                  </a:lnTo>
                  <a:lnTo>
                    <a:pt x="1202" y="597"/>
                  </a:lnTo>
                  <a:lnTo>
                    <a:pt x="1197" y="603"/>
                  </a:lnTo>
                  <a:lnTo>
                    <a:pt x="1192" y="609"/>
                  </a:lnTo>
                  <a:lnTo>
                    <a:pt x="1188" y="616"/>
                  </a:lnTo>
                  <a:lnTo>
                    <a:pt x="1186" y="622"/>
                  </a:lnTo>
                  <a:lnTo>
                    <a:pt x="1183" y="629"/>
                  </a:lnTo>
                  <a:lnTo>
                    <a:pt x="1182" y="633"/>
                  </a:lnTo>
                  <a:lnTo>
                    <a:pt x="1179" y="638"/>
                  </a:lnTo>
                  <a:lnTo>
                    <a:pt x="1176" y="641"/>
                  </a:lnTo>
                  <a:lnTo>
                    <a:pt x="1172" y="642"/>
                  </a:lnTo>
                  <a:lnTo>
                    <a:pt x="1169" y="644"/>
                  </a:lnTo>
                  <a:lnTo>
                    <a:pt x="1163" y="644"/>
                  </a:lnTo>
                  <a:lnTo>
                    <a:pt x="1156" y="642"/>
                  </a:lnTo>
                  <a:lnTo>
                    <a:pt x="1151" y="639"/>
                  </a:lnTo>
                  <a:lnTo>
                    <a:pt x="1151" y="641"/>
                  </a:lnTo>
                  <a:lnTo>
                    <a:pt x="1036" y="440"/>
                  </a:lnTo>
                  <a:lnTo>
                    <a:pt x="996" y="372"/>
                  </a:lnTo>
                  <a:lnTo>
                    <a:pt x="907" y="218"/>
                  </a:lnTo>
                  <a:lnTo>
                    <a:pt x="904" y="220"/>
                  </a:lnTo>
                  <a:lnTo>
                    <a:pt x="903" y="221"/>
                  </a:lnTo>
                  <a:lnTo>
                    <a:pt x="897" y="218"/>
                  </a:lnTo>
                  <a:lnTo>
                    <a:pt x="891" y="218"/>
                  </a:lnTo>
                  <a:lnTo>
                    <a:pt x="885" y="220"/>
                  </a:lnTo>
                  <a:lnTo>
                    <a:pt x="881" y="221"/>
                  </a:lnTo>
                  <a:lnTo>
                    <a:pt x="878" y="223"/>
                  </a:lnTo>
                  <a:lnTo>
                    <a:pt x="875" y="227"/>
                  </a:lnTo>
                  <a:lnTo>
                    <a:pt x="872" y="230"/>
                  </a:lnTo>
                  <a:lnTo>
                    <a:pt x="871" y="236"/>
                  </a:lnTo>
                  <a:lnTo>
                    <a:pt x="871" y="243"/>
                  </a:lnTo>
                  <a:lnTo>
                    <a:pt x="868" y="250"/>
                  </a:lnTo>
                  <a:lnTo>
                    <a:pt x="865" y="256"/>
                  </a:lnTo>
                  <a:lnTo>
                    <a:pt x="862" y="263"/>
                  </a:lnTo>
                  <a:lnTo>
                    <a:pt x="857" y="269"/>
                  </a:lnTo>
                  <a:lnTo>
                    <a:pt x="851" y="277"/>
                  </a:lnTo>
                  <a:lnTo>
                    <a:pt x="846" y="281"/>
                  </a:lnTo>
                  <a:lnTo>
                    <a:pt x="838" y="287"/>
                  </a:lnTo>
                  <a:lnTo>
                    <a:pt x="827" y="293"/>
                  </a:lnTo>
                  <a:lnTo>
                    <a:pt x="813" y="297"/>
                  </a:lnTo>
                  <a:lnTo>
                    <a:pt x="802" y="299"/>
                  </a:lnTo>
                  <a:lnTo>
                    <a:pt x="790" y="297"/>
                  </a:lnTo>
                  <a:lnTo>
                    <a:pt x="778" y="294"/>
                  </a:lnTo>
                  <a:lnTo>
                    <a:pt x="767" y="290"/>
                  </a:lnTo>
                  <a:lnTo>
                    <a:pt x="758" y="282"/>
                  </a:lnTo>
                  <a:lnTo>
                    <a:pt x="751" y="274"/>
                  </a:lnTo>
                  <a:lnTo>
                    <a:pt x="749" y="274"/>
                  </a:lnTo>
                  <a:lnTo>
                    <a:pt x="749" y="272"/>
                  </a:lnTo>
                  <a:lnTo>
                    <a:pt x="745" y="262"/>
                  </a:lnTo>
                  <a:lnTo>
                    <a:pt x="743" y="250"/>
                  </a:lnTo>
                  <a:lnTo>
                    <a:pt x="743" y="239"/>
                  </a:lnTo>
                  <a:lnTo>
                    <a:pt x="746" y="227"/>
                  </a:lnTo>
                  <a:lnTo>
                    <a:pt x="751" y="215"/>
                  </a:lnTo>
                  <a:lnTo>
                    <a:pt x="758" y="205"/>
                  </a:lnTo>
                  <a:lnTo>
                    <a:pt x="767" y="196"/>
                  </a:lnTo>
                  <a:lnTo>
                    <a:pt x="778" y="187"/>
                  </a:lnTo>
                  <a:lnTo>
                    <a:pt x="786" y="185"/>
                  </a:lnTo>
                  <a:lnTo>
                    <a:pt x="793" y="182"/>
                  </a:lnTo>
                  <a:lnTo>
                    <a:pt x="802" y="179"/>
                  </a:lnTo>
                  <a:lnTo>
                    <a:pt x="809" y="179"/>
                  </a:lnTo>
                  <a:lnTo>
                    <a:pt x="816" y="177"/>
                  </a:lnTo>
                  <a:lnTo>
                    <a:pt x="824" y="179"/>
                  </a:lnTo>
                  <a:lnTo>
                    <a:pt x="831" y="180"/>
                  </a:lnTo>
                  <a:lnTo>
                    <a:pt x="838" y="182"/>
                  </a:lnTo>
                  <a:lnTo>
                    <a:pt x="844" y="183"/>
                  </a:lnTo>
                  <a:lnTo>
                    <a:pt x="849" y="183"/>
                  </a:lnTo>
                  <a:lnTo>
                    <a:pt x="853" y="183"/>
                  </a:lnTo>
                  <a:lnTo>
                    <a:pt x="856" y="180"/>
                  </a:lnTo>
                  <a:lnTo>
                    <a:pt x="859" y="177"/>
                  </a:lnTo>
                  <a:lnTo>
                    <a:pt x="863" y="173"/>
                  </a:lnTo>
                  <a:lnTo>
                    <a:pt x="865" y="167"/>
                  </a:lnTo>
                  <a:lnTo>
                    <a:pt x="866" y="161"/>
                  </a:lnTo>
                  <a:lnTo>
                    <a:pt x="865" y="160"/>
                  </a:lnTo>
                  <a:lnTo>
                    <a:pt x="865" y="158"/>
                  </a:lnTo>
                  <a:lnTo>
                    <a:pt x="868" y="157"/>
                  </a:lnTo>
                  <a:lnTo>
                    <a:pt x="871" y="155"/>
                  </a:lnTo>
                  <a:lnTo>
                    <a:pt x="781" y="0"/>
                  </a:lnTo>
                  <a:lnTo>
                    <a:pt x="713" y="43"/>
                  </a:lnTo>
                  <a:lnTo>
                    <a:pt x="647" y="88"/>
                  </a:lnTo>
                  <a:lnTo>
                    <a:pt x="584" y="136"/>
                  </a:lnTo>
                  <a:lnTo>
                    <a:pt x="525" y="186"/>
                  </a:lnTo>
                  <a:lnTo>
                    <a:pt x="468" y="240"/>
                  </a:lnTo>
                  <a:lnTo>
                    <a:pt x="414" y="296"/>
                  </a:lnTo>
                  <a:lnTo>
                    <a:pt x="364" y="353"/>
                  </a:lnTo>
                  <a:lnTo>
                    <a:pt x="316" y="413"/>
                  </a:lnTo>
                  <a:lnTo>
                    <a:pt x="272" y="476"/>
                  </a:lnTo>
                  <a:lnTo>
                    <a:pt x="231" y="538"/>
                  </a:lnTo>
                  <a:lnTo>
                    <a:pt x="193" y="604"/>
                  </a:lnTo>
                  <a:lnTo>
                    <a:pt x="158" y="671"/>
                  </a:lnTo>
                  <a:lnTo>
                    <a:pt x="128" y="740"/>
                  </a:lnTo>
                  <a:lnTo>
                    <a:pt x="100" y="810"/>
                  </a:lnTo>
                  <a:lnTo>
                    <a:pt x="75" y="882"/>
                  </a:lnTo>
                  <a:lnTo>
                    <a:pt x="53" y="954"/>
                  </a:lnTo>
                  <a:lnTo>
                    <a:pt x="35" y="1027"/>
                  </a:lnTo>
                  <a:lnTo>
                    <a:pt x="22" y="1101"/>
                  </a:lnTo>
                  <a:lnTo>
                    <a:pt x="11" y="1176"/>
                  </a:lnTo>
                  <a:lnTo>
                    <a:pt x="3" y="1251"/>
                  </a:lnTo>
                  <a:lnTo>
                    <a:pt x="0" y="1327"/>
                  </a:lnTo>
                  <a:lnTo>
                    <a:pt x="0" y="1403"/>
                  </a:lnTo>
                  <a:lnTo>
                    <a:pt x="5" y="1479"/>
                  </a:lnTo>
                  <a:lnTo>
                    <a:pt x="12" y="1555"/>
                  </a:lnTo>
                  <a:lnTo>
                    <a:pt x="22" y="1629"/>
                  </a:lnTo>
                  <a:lnTo>
                    <a:pt x="38" y="1705"/>
                  </a:lnTo>
                  <a:lnTo>
                    <a:pt x="57" y="1780"/>
                  </a:lnTo>
                  <a:lnTo>
                    <a:pt x="79" y="1854"/>
                  </a:lnTo>
                  <a:lnTo>
                    <a:pt x="106" y="1928"/>
                  </a:lnTo>
                  <a:lnTo>
                    <a:pt x="136" y="2001"/>
                  </a:lnTo>
                  <a:lnTo>
                    <a:pt x="171" y="2072"/>
                  </a:lnTo>
                  <a:lnTo>
                    <a:pt x="209" y="2144"/>
                  </a:lnTo>
                  <a:lnTo>
                    <a:pt x="237" y="2189"/>
                  </a:lnTo>
                  <a:lnTo>
                    <a:pt x="266" y="2235"/>
                  </a:lnTo>
                  <a:lnTo>
                    <a:pt x="297" y="2279"/>
                  </a:lnTo>
                  <a:lnTo>
                    <a:pt x="328" y="2321"/>
                  </a:lnTo>
                  <a:lnTo>
                    <a:pt x="362" y="2362"/>
                  </a:lnTo>
                  <a:lnTo>
                    <a:pt x="395" y="2401"/>
                  </a:lnTo>
                  <a:lnTo>
                    <a:pt x="430" y="2439"/>
                  </a:lnTo>
                  <a:lnTo>
                    <a:pt x="467" y="2476"/>
                  </a:lnTo>
                  <a:lnTo>
                    <a:pt x="505" y="2512"/>
                  </a:lnTo>
                  <a:lnTo>
                    <a:pt x="543" y="2546"/>
                  </a:lnTo>
                  <a:lnTo>
                    <a:pt x="582" y="2580"/>
                  </a:lnTo>
                  <a:lnTo>
                    <a:pt x="623" y="2610"/>
                  </a:lnTo>
                  <a:lnTo>
                    <a:pt x="664" y="2641"/>
                  </a:lnTo>
                  <a:lnTo>
                    <a:pt x="707" y="2669"/>
                  </a:lnTo>
                  <a:lnTo>
                    <a:pt x="749" y="2697"/>
                  </a:lnTo>
                  <a:lnTo>
                    <a:pt x="793" y="2722"/>
                  </a:lnTo>
                  <a:lnTo>
                    <a:pt x="881" y="2568"/>
                  </a:lnTo>
                  <a:lnTo>
                    <a:pt x="882" y="2570"/>
                  </a:lnTo>
                  <a:lnTo>
                    <a:pt x="884" y="2570"/>
                  </a:lnTo>
                  <a:lnTo>
                    <a:pt x="885" y="2568"/>
                  </a:lnTo>
                  <a:lnTo>
                    <a:pt x="891" y="2565"/>
                  </a:lnTo>
                  <a:lnTo>
                    <a:pt x="897" y="2564"/>
                  </a:lnTo>
                  <a:lnTo>
                    <a:pt x="903" y="2565"/>
                  </a:lnTo>
                  <a:lnTo>
                    <a:pt x="907" y="2567"/>
                  </a:lnTo>
                  <a:lnTo>
                    <a:pt x="910" y="2568"/>
                  </a:lnTo>
                  <a:lnTo>
                    <a:pt x="913" y="2571"/>
                  </a:lnTo>
                  <a:lnTo>
                    <a:pt x="916" y="2575"/>
                  </a:lnTo>
                  <a:lnTo>
                    <a:pt x="917" y="2580"/>
                  </a:lnTo>
                  <a:lnTo>
                    <a:pt x="919" y="2587"/>
                  </a:lnTo>
                  <a:lnTo>
                    <a:pt x="922" y="2594"/>
                  </a:lnTo>
                  <a:lnTo>
                    <a:pt x="925" y="2602"/>
                  </a:lnTo>
                  <a:lnTo>
                    <a:pt x="929" y="2608"/>
                  </a:lnTo>
                  <a:lnTo>
                    <a:pt x="933" y="2615"/>
                  </a:lnTo>
                  <a:lnTo>
                    <a:pt x="939" y="2619"/>
                  </a:lnTo>
                  <a:lnTo>
                    <a:pt x="945" y="2625"/>
                  </a:lnTo>
                  <a:lnTo>
                    <a:pt x="952" y="2629"/>
                  </a:lnTo>
                  <a:lnTo>
                    <a:pt x="964" y="2635"/>
                  </a:lnTo>
                  <a:lnTo>
                    <a:pt x="977" y="2638"/>
                  </a:lnTo>
                  <a:lnTo>
                    <a:pt x="989" y="2640"/>
                  </a:lnTo>
                  <a:lnTo>
                    <a:pt x="1002" y="2638"/>
                  </a:lnTo>
                  <a:lnTo>
                    <a:pt x="1014" y="2635"/>
                  </a:lnTo>
                  <a:lnTo>
                    <a:pt x="1024" y="2629"/>
                  </a:lnTo>
                  <a:lnTo>
                    <a:pt x="1033" y="2622"/>
                  </a:lnTo>
                  <a:lnTo>
                    <a:pt x="1040" y="2612"/>
                  </a:lnTo>
                  <a:lnTo>
                    <a:pt x="1045" y="2600"/>
                  </a:lnTo>
                  <a:lnTo>
                    <a:pt x="1046" y="2589"/>
                  </a:lnTo>
                  <a:lnTo>
                    <a:pt x="1045" y="2577"/>
                  </a:lnTo>
                  <a:lnTo>
                    <a:pt x="1042" y="2565"/>
                  </a:lnTo>
                  <a:lnTo>
                    <a:pt x="1036" y="2555"/>
                  </a:lnTo>
                  <a:lnTo>
                    <a:pt x="1028" y="2545"/>
                  </a:lnTo>
                  <a:lnTo>
                    <a:pt x="1018" y="2536"/>
                  </a:lnTo>
                  <a:lnTo>
                    <a:pt x="1008" y="2529"/>
                  </a:lnTo>
                  <a:lnTo>
                    <a:pt x="999" y="2524"/>
                  </a:lnTo>
                  <a:lnTo>
                    <a:pt x="992" y="2523"/>
                  </a:lnTo>
                  <a:lnTo>
                    <a:pt x="985" y="2521"/>
                  </a:lnTo>
                  <a:lnTo>
                    <a:pt x="976" y="2520"/>
                  </a:lnTo>
                  <a:lnTo>
                    <a:pt x="968" y="2520"/>
                  </a:lnTo>
                  <a:lnTo>
                    <a:pt x="961" y="2521"/>
                  </a:lnTo>
                  <a:lnTo>
                    <a:pt x="954" y="2523"/>
                  </a:lnTo>
                  <a:lnTo>
                    <a:pt x="947" y="2526"/>
                  </a:lnTo>
                  <a:lnTo>
                    <a:pt x="942" y="2527"/>
                  </a:lnTo>
                  <a:lnTo>
                    <a:pt x="938" y="2527"/>
                  </a:lnTo>
                  <a:lnTo>
                    <a:pt x="933" y="2527"/>
                  </a:lnTo>
                  <a:lnTo>
                    <a:pt x="929" y="2524"/>
                  </a:lnTo>
                  <a:lnTo>
                    <a:pt x="926" y="2521"/>
                  </a:lnTo>
                  <a:lnTo>
                    <a:pt x="923" y="2517"/>
                  </a:lnTo>
                  <a:lnTo>
                    <a:pt x="920" y="2511"/>
                  </a:lnTo>
                  <a:lnTo>
                    <a:pt x="919" y="2505"/>
                  </a:lnTo>
                  <a:lnTo>
                    <a:pt x="917" y="2505"/>
                  </a:lnTo>
                  <a:lnTo>
                    <a:pt x="1163" y="2081"/>
                  </a:lnTo>
                  <a:lnTo>
                    <a:pt x="1163" y="2077"/>
                  </a:lnTo>
                  <a:lnTo>
                    <a:pt x="1160" y="2071"/>
                  </a:lnTo>
                  <a:lnTo>
                    <a:pt x="1157" y="2066"/>
                  </a:lnTo>
                  <a:lnTo>
                    <a:pt x="1154" y="2064"/>
                  </a:lnTo>
                  <a:lnTo>
                    <a:pt x="1151" y="2061"/>
                  </a:lnTo>
                  <a:lnTo>
                    <a:pt x="1147" y="2061"/>
                  </a:lnTo>
                  <a:lnTo>
                    <a:pt x="1143" y="2059"/>
                  </a:lnTo>
                  <a:lnTo>
                    <a:pt x="1137" y="2061"/>
                  </a:lnTo>
                  <a:lnTo>
                    <a:pt x="1131" y="2062"/>
                  </a:lnTo>
                  <a:lnTo>
                    <a:pt x="1122" y="2064"/>
                  </a:lnTo>
                  <a:lnTo>
                    <a:pt x="1115" y="2064"/>
                  </a:lnTo>
                  <a:lnTo>
                    <a:pt x="1107" y="2062"/>
                  </a:lnTo>
                  <a:lnTo>
                    <a:pt x="1100" y="2061"/>
                  </a:lnTo>
                  <a:lnTo>
                    <a:pt x="1091" y="2059"/>
                  </a:lnTo>
                  <a:lnTo>
                    <a:pt x="1084" y="2055"/>
                  </a:lnTo>
                  <a:lnTo>
                    <a:pt x="1077" y="2050"/>
                  </a:lnTo>
                  <a:lnTo>
                    <a:pt x="1066" y="2043"/>
                  </a:lnTo>
                  <a:lnTo>
                    <a:pt x="1059" y="2033"/>
                  </a:lnTo>
                  <a:lnTo>
                    <a:pt x="1052" y="2021"/>
                  </a:lnTo>
                  <a:lnTo>
                    <a:pt x="1047" y="2011"/>
                  </a:lnTo>
                  <a:lnTo>
                    <a:pt x="1046" y="1999"/>
                  </a:lnTo>
                  <a:lnTo>
                    <a:pt x="1046" y="1986"/>
                  </a:lnTo>
                  <a:lnTo>
                    <a:pt x="1049" y="1976"/>
                  </a:lnTo>
                  <a:lnTo>
                    <a:pt x="1055" y="1964"/>
                  </a:lnTo>
                  <a:lnTo>
                    <a:pt x="1064" y="1955"/>
                  </a:lnTo>
                  <a:lnTo>
                    <a:pt x="1072" y="1948"/>
                  </a:lnTo>
                  <a:lnTo>
                    <a:pt x="1084" y="1945"/>
                  </a:lnTo>
                  <a:lnTo>
                    <a:pt x="1096" y="1942"/>
                  </a:lnTo>
                  <a:lnTo>
                    <a:pt x="1107" y="1942"/>
                  </a:lnTo>
                  <a:lnTo>
                    <a:pt x="1121" y="1945"/>
                  </a:lnTo>
                  <a:lnTo>
                    <a:pt x="1132" y="1949"/>
                  </a:lnTo>
                  <a:lnTo>
                    <a:pt x="1144" y="1957"/>
                  </a:lnTo>
                  <a:lnTo>
                    <a:pt x="1150" y="1961"/>
                  </a:lnTo>
                  <a:lnTo>
                    <a:pt x="1156" y="1969"/>
                  </a:lnTo>
                  <a:lnTo>
                    <a:pt x="1162" y="1974"/>
                  </a:lnTo>
                  <a:lnTo>
                    <a:pt x="1164" y="1980"/>
                  </a:lnTo>
                  <a:lnTo>
                    <a:pt x="1169" y="1988"/>
                  </a:lnTo>
                  <a:lnTo>
                    <a:pt x="1170" y="1995"/>
                  </a:lnTo>
                  <a:lnTo>
                    <a:pt x="1172" y="2002"/>
                  </a:lnTo>
                  <a:lnTo>
                    <a:pt x="1173" y="2009"/>
                  </a:lnTo>
                  <a:lnTo>
                    <a:pt x="1175" y="2015"/>
                  </a:lnTo>
                  <a:lnTo>
                    <a:pt x="1176" y="2020"/>
                  </a:lnTo>
                  <a:lnTo>
                    <a:pt x="1178" y="2023"/>
                  </a:lnTo>
                  <a:lnTo>
                    <a:pt x="1182" y="2026"/>
                  </a:lnTo>
                  <a:lnTo>
                    <a:pt x="1186" y="2027"/>
                  </a:lnTo>
                  <a:lnTo>
                    <a:pt x="1194" y="2028"/>
                  </a:lnTo>
                  <a:lnTo>
                    <a:pt x="1268" y="1900"/>
                  </a:lnTo>
                  <a:lnTo>
                    <a:pt x="1233" y="1879"/>
                  </a:lnTo>
                  <a:lnTo>
                    <a:pt x="1200" y="1856"/>
                  </a:lnTo>
                  <a:lnTo>
                    <a:pt x="1167" y="1830"/>
                  </a:lnTo>
                  <a:lnTo>
                    <a:pt x="1137" y="1802"/>
                  </a:lnTo>
                  <a:lnTo>
                    <a:pt x="1107" y="1773"/>
                  </a:lnTo>
                  <a:lnTo>
                    <a:pt x="1080" y="1740"/>
                  </a:lnTo>
                  <a:lnTo>
                    <a:pt x="1068" y="1723"/>
                  </a:lnTo>
                  <a:lnTo>
                    <a:pt x="1055" y="1705"/>
                  </a:lnTo>
                  <a:lnTo>
                    <a:pt x="1043" y="1688"/>
                  </a:lnTo>
                  <a:lnTo>
                    <a:pt x="1031" y="1669"/>
                  </a:lnTo>
                  <a:lnTo>
                    <a:pt x="1017" y="1641"/>
                  </a:lnTo>
                  <a:lnTo>
                    <a:pt x="1004" y="1612"/>
                  </a:lnTo>
                  <a:lnTo>
                    <a:pt x="992" y="1584"/>
                  </a:lnTo>
                  <a:lnTo>
                    <a:pt x="980" y="1555"/>
                  </a:lnTo>
                  <a:lnTo>
                    <a:pt x="971" y="1525"/>
                  </a:lnTo>
                  <a:lnTo>
                    <a:pt x="964" y="1496"/>
                  </a:lnTo>
                  <a:lnTo>
                    <a:pt x="958" y="1465"/>
                  </a:lnTo>
                  <a:lnTo>
                    <a:pt x="954" y="1436"/>
                  </a:lnTo>
                  <a:lnTo>
                    <a:pt x="951" y="1407"/>
                  </a:lnTo>
                  <a:lnTo>
                    <a:pt x="949" y="1376"/>
                  </a:lnTo>
                  <a:lnTo>
                    <a:pt x="949" y="1347"/>
                  </a:lnTo>
                  <a:lnTo>
                    <a:pt x="951" y="1316"/>
                  </a:lnTo>
                  <a:lnTo>
                    <a:pt x="954" y="1287"/>
                  </a:lnTo>
                  <a:lnTo>
                    <a:pt x="958" y="1258"/>
                  </a:lnTo>
                  <a:lnTo>
                    <a:pt x="963" y="1229"/>
                  </a:lnTo>
                  <a:lnTo>
                    <a:pt x="970" y="1199"/>
                  </a:lnTo>
                  <a:lnTo>
                    <a:pt x="979" y="1172"/>
                  </a:lnTo>
                  <a:lnTo>
                    <a:pt x="988" y="1142"/>
                  </a:lnTo>
                  <a:lnTo>
                    <a:pt x="999" y="1116"/>
                  </a:lnTo>
                  <a:lnTo>
                    <a:pt x="1011" y="1088"/>
                  </a:lnTo>
                  <a:lnTo>
                    <a:pt x="1026" y="1062"/>
                  </a:lnTo>
                  <a:lnTo>
                    <a:pt x="1040" y="1036"/>
                  </a:lnTo>
                  <a:lnTo>
                    <a:pt x="1056" y="1011"/>
                  </a:lnTo>
                  <a:lnTo>
                    <a:pt x="1074" y="986"/>
                  </a:lnTo>
                  <a:lnTo>
                    <a:pt x="1093" y="962"/>
                  </a:lnTo>
                  <a:lnTo>
                    <a:pt x="1112" y="939"/>
                  </a:lnTo>
                  <a:lnTo>
                    <a:pt x="1134" y="917"/>
                  </a:lnTo>
                  <a:lnTo>
                    <a:pt x="1156" y="897"/>
                  </a:lnTo>
                  <a:lnTo>
                    <a:pt x="1179" y="876"/>
                  </a:lnTo>
                  <a:lnTo>
                    <a:pt x="1204" y="857"/>
                  </a:lnTo>
                  <a:lnTo>
                    <a:pt x="1229" y="840"/>
                  </a:lnTo>
                  <a:lnTo>
                    <a:pt x="1257" y="824"/>
                  </a:lnTo>
                  <a:lnTo>
                    <a:pt x="1182" y="695"/>
                  </a:lnTo>
                </a:path>
              </a:pathLst>
            </a:custGeom>
            <a:solidFill>
              <a:schemeClr val="accent2"/>
            </a:solidFill>
            <a:ln w="19050">
              <a:solidFill>
                <a:srgbClr val="FFFFFF"/>
              </a:solidFill>
              <a:round/>
              <a:headEnd/>
              <a:tailEnd/>
            </a:ln>
          </p:spPr>
          <p:txBody>
            <a:bodyPr/>
            <a:lstStyle/>
            <a:p>
              <a:pPr algn="r" rtl="0" fontAlgn="base">
                <a:lnSpc>
                  <a:spcPct val="86000"/>
                </a:lnSpc>
                <a:spcBef>
                  <a:spcPct val="0"/>
                </a:spcBef>
                <a:spcAft>
                  <a:spcPct val="0"/>
                </a:spcAft>
                <a:defRPr/>
              </a:pPr>
              <a:endParaRPr lang="fr-ca" kern="0" dirty="0">
                <a:solidFill>
                  <a:srgbClr val="000000"/>
                </a:solidFill>
                <a:latin typeface="Arial" charset="0"/>
              </a:endParaRPr>
            </a:p>
          </p:txBody>
        </p:sp>
      </p:grpSp>
      <p:sp>
        <p:nvSpPr>
          <p:cNvPr id="25" name="Rectangle 24">
            <a:extLst>
              <a:ext uri="{FF2B5EF4-FFF2-40B4-BE49-F238E27FC236}">
                <a16:creationId xmlns:a16="http://schemas.microsoft.com/office/drawing/2014/main" id="{1C0BC8DE-0D67-4D94-938B-520DE382C7DB}"/>
              </a:ext>
            </a:extLst>
          </p:cNvPr>
          <p:cNvSpPr/>
          <p:nvPr>
            <p:custDataLst>
              <p:tags r:id="rId5"/>
            </p:custDataLst>
          </p:nvPr>
        </p:nvSpPr>
        <p:spPr>
          <a:xfrm>
            <a:off x="4421505" y="2981660"/>
            <a:ext cx="2004060" cy="304800"/>
          </a:xfrm>
          <a:prstGeom prst="rect">
            <a:avLst/>
          </a:prstGeom>
          <a:gradFill>
            <a:gsLst>
              <a:gs pos="51000">
                <a:schemeClr val="accent5"/>
              </a:gs>
              <a:gs pos="100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rtl="0"/>
            <a:r>
              <a:rPr lang="fr-ca" sz="1600" b="0" i="0" u="none" baseline="0">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Communiquer</a:t>
            </a:r>
            <a:endParaRPr lang="fr-ca" sz="1600" dirty="0">
              <a:latin typeface="Arial" panose="020B0604020202020204" pitchFamily="34" charset="0"/>
              <a:cs typeface="Arial" panose="020B0604020202020204" pitchFamily="34" charset="0"/>
            </a:endParaRPr>
          </a:p>
        </p:txBody>
      </p:sp>
      <p:sp>
        <p:nvSpPr>
          <p:cNvPr id="26" name="TextBox 25">
            <a:extLst>
              <a:ext uri="{FF2B5EF4-FFF2-40B4-BE49-F238E27FC236}">
                <a16:creationId xmlns:a16="http://schemas.microsoft.com/office/drawing/2014/main" id="{90B6A075-7B82-4D03-BAEE-80A8FDA4815B}"/>
              </a:ext>
            </a:extLst>
          </p:cNvPr>
          <p:cNvSpPr txBox="1"/>
          <p:nvPr>
            <p:custDataLst>
              <p:tags r:id="rId6"/>
            </p:custDataLst>
          </p:nvPr>
        </p:nvSpPr>
        <p:spPr>
          <a:xfrm>
            <a:off x="1543890" y="3346460"/>
            <a:ext cx="1376435" cy="523220"/>
          </a:xfrm>
          <a:prstGeom prst="rect">
            <a:avLst/>
          </a:prstGeom>
          <a:noFill/>
        </p:spPr>
        <p:txBody>
          <a:bodyPr wrap="square" rtlCol="0">
            <a:spAutoFit/>
          </a:bodyPr>
          <a:lstStyle/>
          <a:p>
            <a:pPr algn="ctr" rtl="0"/>
            <a:r>
              <a:rPr lang="fr-ca" sz="1400" b="0" i="0" u="none" baseline="0">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Un agent de changement efficace</a:t>
            </a:r>
            <a:endParaRPr lang="fr-ca" sz="1400" dirty="0">
              <a:latin typeface="Arial" panose="020B0604020202020204" pitchFamily="34" charset="0"/>
              <a:cs typeface="Arial" panose="020B0604020202020204" pitchFamily="34" charset="0"/>
            </a:endParaRPr>
          </a:p>
        </p:txBody>
      </p:sp>
      <p:sp>
        <p:nvSpPr>
          <p:cNvPr id="27" name="TextBox 26">
            <a:extLst>
              <a:ext uri="{FF2B5EF4-FFF2-40B4-BE49-F238E27FC236}">
                <a16:creationId xmlns:a16="http://schemas.microsoft.com/office/drawing/2014/main" id="{9852F495-B492-4D3D-BFB7-7057DC268596}"/>
              </a:ext>
            </a:extLst>
          </p:cNvPr>
          <p:cNvSpPr txBox="1"/>
          <p:nvPr>
            <p:custDataLst>
              <p:tags r:id="rId7"/>
            </p:custDataLst>
          </p:nvPr>
        </p:nvSpPr>
        <p:spPr>
          <a:xfrm>
            <a:off x="4409669" y="3258017"/>
            <a:ext cx="7557542" cy="1600438"/>
          </a:xfrm>
          <a:prstGeom prst="rect">
            <a:avLst/>
          </a:prstGeom>
          <a:noFill/>
        </p:spPr>
        <p:txBody>
          <a:bodyPr wrap="square" rtlCol="0">
            <a:spAutoFit/>
          </a:bodyPr>
          <a:lstStyle/>
          <a:p>
            <a:pPr marL="285750" indent="-285750" algn="l" rtl="0">
              <a:buFont typeface="Arial" panose="020B0604020202020204" pitchFamily="34" charset="0"/>
              <a:buChar char="•"/>
            </a:pPr>
            <a:r>
              <a:rPr lang="fr-ca" sz="1400" b="0" i="0" u="none" baseline="0" dirty="0">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Expliquer la raison opérationnelle du changement et la manière dont il se produira.</a:t>
            </a:r>
          </a:p>
          <a:p>
            <a:pPr marL="285750" indent="-285750" algn="l" rtl="0">
              <a:buFont typeface="Arial" panose="020B0604020202020204" pitchFamily="34" charset="0"/>
              <a:buChar char="•"/>
            </a:pPr>
            <a:r>
              <a:rPr lang="fr-ca" sz="1400" b="0" i="0" u="none" baseline="0" dirty="0">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Être clair et honnête concernant ce qui change et pourquoi.</a:t>
            </a:r>
          </a:p>
          <a:p>
            <a:pPr marL="285750" indent="-285750" algn="l" rtl="0">
              <a:buFont typeface="Arial" panose="020B0604020202020204" pitchFamily="34" charset="0"/>
              <a:buChar char="•"/>
            </a:pPr>
            <a:r>
              <a:rPr lang="fr-ca" sz="1400" b="0" i="0" u="none" baseline="0" dirty="0">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Fournir une voie de communication pour les commentaires et les questions (comme des réunions, etc.).</a:t>
            </a:r>
          </a:p>
          <a:p>
            <a:pPr marL="285750" indent="-285750" algn="l" rtl="0">
              <a:buFont typeface="Arial" panose="020B0604020202020204" pitchFamily="34" charset="0"/>
              <a:buChar char="•"/>
            </a:pPr>
            <a:r>
              <a:rPr lang="fr-ca" sz="1400" b="0" i="0" u="none" baseline="0" dirty="0">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Expliquer aux employés comment ils seront touchés. </a:t>
            </a:r>
          </a:p>
          <a:p>
            <a:pPr marL="285750" indent="-285750" algn="l" rtl="0">
              <a:buFont typeface="Arial" panose="020B0604020202020204" pitchFamily="34" charset="0"/>
              <a:buChar char="•"/>
            </a:pPr>
            <a:r>
              <a:rPr lang="fr-ca" sz="1400" b="0" i="0" u="none" baseline="0" dirty="0">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Face à de la résistance, écouter, faire preuve d’empathie, découvrir les besoins et les préoccupations, répondre aux questions et valider la compréhension. </a:t>
            </a:r>
            <a:endParaRPr lang="fr-ca" sz="1400" dirty="0">
              <a:latin typeface="Arial" panose="020B0604020202020204" pitchFamily="34" charset="0"/>
              <a:cs typeface="Arial" panose="020B0604020202020204" pitchFamily="34" charset="0"/>
            </a:endParaRPr>
          </a:p>
        </p:txBody>
      </p:sp>
      <p:sp>
        <p:nvSpPr>
          <p:cNvPr id="28" name="TextBox 27">
            <a:extLst>
              <a:ext uri="{FF2B5EF4-FFF2-40B4-BE49-F238E27FC236}">
                <a16:creationId xmlns:a16="http://schemas.microsoft.com/office/drawing/2014/main" id="{D8203188-81C5-406A-8F98-E30A453C156F}"/>
              </a:ext>
            </a:extLst>
          </p:cNvPr>
          <p:cNvSpPr txBox="1"/>
          <p:nvPr>
            <p:custDataLst>
              <p:tags r:id="rId8"/>
            </p:custDataLst>
          </p:nvPr>
        </p:nvSpPr>
        <p:spPr>
          <a:xfrm>
            <a:off x="4378357" y="1640125"/>
            <a:ext cx="7588854" cy="1600438"/>
          </a:xfrm>
          <a:prstGeom prst="rect">
            <a:avLst/>
          </a:prstGeom>
          <a:noFill/>
        </p:spPr>
        <p:txBody>
          <a:bodyPr wrap="square" rtlCol="0">
            <a:spAutoFit/>
          </a:bodyPr>
          <a:lstStyle/>
          <a:p>
            <a:pPr marL="285750" indent="-285750" algn="l" rtl="0">
              <a:buFont typeface="Arial" panose="020B0604020202020204" pitchFamily="34" charset="0"/>
              <a:buChar char="•"/>
            </a:pPr>
            <a:r>
              <a:rPr lang="fr-ca" sz="1400" b="0" i="0" u="none" baseline="0" dirty="0">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Être ouvert aux possibilités et à l’apprentissage que le changement offre (l’occasion).</a:t>
            </a:r>
          </a:p>
          <a:p>
            <a:pPr marL="285750" indent="-285750" algn="l" rtl="0">
              <a:buFont typeface="Arial" panose="020B0604020202020204" pitchFamily="34" charset="0"/>
              <a:buChar char="•"/>
            </a:pPr>
            <a:r>
              <a:rPr lang="fr-ca" sz="1400" b="0" i="0" u="none" baseline="0" dirty="0">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Reconnaître que nous ne pouvons pas contrôler le changement, mais que nous pouvons contrôler nos attitudes et la façon dont nous réagissons au changement.</a:t>
            </a:r>
          </a:p>
          <a:p>
            <a:pPr marL="285750" indent="-285750" algn="l" rtl="0">
              <a:buFont typeface="Arial" panose="020B0604020202020204" pitchFamily="34" charset="0"/>
              <a:buChar char="•"/>
            </a:pPr>
            <a:r>
              <a:rPr lang="fr-ca" sz="1400" b="0" i="0" u="none" baseline="0" dirty="0">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Concevoir le changement comme un pas vers l’avenir plutôt que comme une refonte du passé.</a:t>
            </a:r>
          </a:p>
          <a:p>
            <a:pPr marL="285750" indent="-285750" algn="l" rtl="0">
              <a:buFont typeface="Arial" panose="020B0604020202020204" pitchFamily="34" charset="0"/>
              <a:buChar char="•"/>
            </a:pPr>
            <a:r>
              <a:rPr lang="fr-ca" sz="1400" b="0" i="0" u="none" baseline="0" dirty="0">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Comprendre que chaque personne vit le changement différemment (les obstacles). </a:t>
            </a:r>
          </a:p>
          <a:p>
            <a:pPr marL="285750" indent="-285750" algn="l" rtl="0">
              <a:buFont typeface="Arial" panose="020B0604020202020204" pitchFamily="34" charset="0"/>
              <a:buChar char="•"/>
            </a:pPr>
            <a:endParaRPr lang="fr-ca" sz="1400" dirty="0">
              <a:latin typeface="Arial" panose="020B0604020202020204" pitchFamily="34" charset="0"/>
              <a:cs typeface="Arial" panose="020B0604020202020204" pitchFamily="34" charset="0"/>
            </a:endParaRPr>
          </a:p>
        </p:txBody>
      </p:sp>
      <p:sp>
        <p:nvSpPr>
          <p:cNvPr id="29" name="TextBox 28">
            <a:extLst>
              <a:ext uri="{FF2B5EF4-FFF2-40B4-BE49-F238E27FC236}">
                <a16:creationId xmlns:a16="http://schemas.microsoft.com/office/drawing/2014/main" id="{D3FF89AE-2E67-4345-8288-4FB279A75BE3}"/>
              </a:ext>
            </a:extLst>
          </p:cNvPr>
          <p:cNvSpPr txBox="1"/>
          <p:nvPr>
            <p:custDataLst>
              <p:tags r:id="rId9"/>
            </p:custDataLst>
          </p:nvPr>
        </p:nvSpPr>
        <p:spPr>
          <a:xfrm>
            <a:off x="4378357" y="5076142"/>
            <a:ext cx="7588854" cy="1815882"/>
          </a:xfrm>
          <a:prstGeom prst="rect">
            <a:avLst/>
          </a:prstGeom>
          <a:noFill/>
        </p:spPr>
        <p:txBody>
          <a:bodyPr wrap="square" rtlCol="0">
            <a:spAutoFit/>
          </a:bodyPr>
          <a:lstStyle/>
          <a:p>
            <a:pPr marL="285750" indent="-285750" algn="l" rtl="0">
              <a:buFont typeface="Arial" panose="020B0604020202020204" pitchFamily="34" charset="0"/>
              <a:buChar char="•"/>
            </a:pPr>
            <a:r>
              <a:rPr lang="fr-ca" sz="1400" b="0" i="0" u="none" baseline="0" dirty="0">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Demander aux employés ce dont ils ont besoin (plus de renseignements, de l’aide, du soutien, etc.).</a:t>
            </a:r>
          </a:p>
          <a:p>
            <a:pPr marL="285750" indent="-285750" algn="l" rtl="0">
              <a:buFont typeface="Arial" panose="020B0604020202020204" pitchFamily="34" charset="0"/>
              <a:buChar char="•"/>
            </a:pPr>
            <a:r>
              <a:rPr lang="fr-ca" sz="1400" b="0" i="0" u="none" baseline="0" dirty="0">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Détecter quand les gens font des suppositions et répandent des rumeurs sans le savoir.</a:t>
            </a:r>
            <a:endParaRPr lang="fr-ca" sz="1400" dirty="0">
              <a:latin typeface="Arial" panose="020B0604020202020204" pitchFamily="34" charset="0"/>
              <a:cs typeface="Arial" panose="020B0604020202020204" pitchFamily="34" charset="0"/>
            </a:endParaRPr>
          </a:p>
          <a:p>
            <a:pPr marL="285750" indent="-285750" algn="l" rtl="0">
              <a:buFont typeface="Arial" panose="020B0604020202020204" pitchFamily="34" charset="0"/>
              <a:buChar char="•"/>
            </a:pPr>
            <a:r>
              <a:rPr lang="fr-ca" sz="1400" b="0" i="0" u="none" baseline="0" dirty="0">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Examiner les raisons de la résistance (c’est-à-dire le manque de compréhension, les effets sur le travail/le mandat, les expériences passées en matière de changement, le manque d’engagement des dirigeants, la peur d’une perte et le manque de capacités ou de connaissances pour le changement).</a:t>
            </a:r>
          </a:p>
          <a:p>
            <a:pPr marL="285750" indent="-285750" algn="l" rtl="0">
              <a:buFont typeface="Arial" panose="020B0604020202020204" pitchFamily="34" charset="0"/>
              <a:buChar char="•"/>
            </a:pPr>
            <a:endParaRPr lang="fr-ca" sz="1400" dirty="0">
              <a:latin typeface="Arial" panose="020B0604020202020204" pitchFamily="34" charset="0"/>
              <a:cs typeface="Arial" panose="020B0604020202020204" pitchFamily="34" charset="0"/>
            </a:endParaRPr>
          </a:p>
        </p:txBody>
      </p:sp>
      <p:sp>
        <p:nvSpPr>
          <p:cNvPr id="31" name="TextBox 30">
            <a:extLst>
              <a:ext uri="{FF2B5EF4-FFF2-40B4-BE49-F238E27FC236}">
                <a16:creationId xmlns:a16="http://schemas.microsoft.com/office/drawing/2014/main" id="{6B186CCD-F917-4604-B875-F9710FCB0D48}"/>
              </a:ext>
            </a:extLst>
          </p:cNvPr>
          <p:cNvSpPr txBox="1"/>
          <p:nvPr>
            <p:custDataLst>
              <p:tags r:id="rId10"/>
            </p:custDataLst>
          </p:nvPr>
        </p:nvSpPr>
        <p:spPr>
          <a:xfrm>
            <a:off x="605675" y="2186568"/>
            <a:ext cx="701040" cy="1446550"/>
          </a:xfrm>
          <a:prstGeom prst="rect">
            <a:avLst/>
          </a:prstGeom>
          <a:noFill/>
        </p:spPr>
        <p:txBody>
          <a:bodyPr wrap="square" rtlCol="0">
            <a:spAutoFit/>
          </a:bodyPr>
          <a:lstStyle/>
          <a:p>
            <a:pPr algn="l" rtl="0"/>
            <a:r>
              <a:rPr lang="fr-ca" sz="8800" b="0" i="0" u="none" baseline="0">
                <a:solidFill>
                  <a:schemeClr val="bg1"/>
                </a:solidFill>
              </a:rPr>
              <a:t>1</a:t>
            </a:r>
            <a:endParaRPr lang="fr-ca" sz="8800" dirty="0">
              <a:solidFill>
                <a:schemeClr val="bg1"/>
              </a:solidFill>
            </a:endParaRPr>
          </a:p>
        </p:txBody>
      </p:sp>
      <p:sp>
        <p:nvSpPr>
          <p:cNvPr id="32" name="TextBox 31">
            <a:extLst>
              <a:ext uri="{FF2B5EF4-FFF2-40B4-BE49-F238E27FC236}">
                <a16:creationId xmlns:a16="http://schemas.microsoft.com/office/drawing/2014/main" id="{5C4209D7-DBF4-42DB-8CD8-234FBE915F70}"/>
              </a:ext>
            </a:extLst>
          </p:cNvPr>
          <p:cNvSpPr txBox="1"/>
          <p:nvPr>
            <p:custDataLst>
              <p:tags r:id="rId11"/>
            </p:custDataLst>
          </p:nvPr>
        </p:nvSpPr>
        <p:spPr>
          <a:xfrm>
            <a:off x="3025762" y="2186568"/>
            <a:ext cx="701040" cy="1446550"/>
          </a:xfrm>
          <a:prstGeom prst="rect">
            <a:avLst/>
          </a:prstGeom>
          <a:noFill/>
        </p:spPr>
        <p:txBody>
          <a:bodyPr wrap="square" rtlCol="0">
            <a:spAutoFit/>
          </a:bodyPr>
          <a:lstStyle/>
          <a:p>
            <a:pPr algn="l" rtl="0"/>
            <a:r>
              <a:rPr lang="fr-ca" sz="8800" b="0" i="0" u="none" baseline="0">
                <a:solidFill>
                  <a:schemeClr val="bg1"/>
                </a:solidFill>
              </a:rPr>
              <a:t>2</a:t>
            </a:r>
            <a:endParaRPr lang="fr-ca" sz="8800" dirty="0">
              <a:solidFill>
                <a:schemeClr val="bg1"/>
              </a:solidFill>
            </a:endParaRPr>
          </a:p>
        </p:txBody>
      </p:sp>
      <p:sp>
        <p:nvSpPr>
          <p:cNvPr id="33" name="TextBox 32">
            <a:extLst>
              <a:ext uri="{FF2B5EF4-FFF2-40B4-BE49-F238E27FC236}">
                <a16:creationId xmlns:a16="http://schemas.microsoft.com/office/drawing/2014/main" id="{BFDD7611-740D-47E9-A1B4-91DBC4733477}"/>
              </a:ext>
            </a:extLst>
          </p:cNvPr>
          <p:cNvSpPr txBox="1"/>
          <p:nvPr>
            <p:custDataLst>
              <p:tags r:id="rId12"/>
            </p:custDataLst>
          </p:nvPr>
        </p:nvSpPr>
        <p:spPr>
          <a:xfrm>
            <a:off x="1838121" y="4244079"/>
            <a:ext cx="701040" cy="1446550"/>
          </a:xfrm>
          <a:prstGeom prst="rect">
            <a:avLst/>
          </a:prstGeom>
          <a:noFill/>
        </p:spPr>
        <p:txBody>
          <a:bodyPr wrap="square" rtlCol="0">
            <a:spAutoFit/>
          </a:bodyPr>
          <a:lstStyle/>
          <a:p>
            <a:pPr algn="l" rtl="0"/>
            <a:r>
              <a:rPr lang="fr-ca" sz="8800" b="0" i="0" u="none" baseline="0">
                <a:solidFill>
                  <a:schemeClr val="bg1"/>
                </a:solidFill>
              </a:rPr>
              <a:t>3</a:t>
            </a:r>
            <a:endParaRPr lang="fr-ca" sz="8800" dirty="0">
              <a:solidFill>
                <a:schemeClr val="bg1"/>
              </a:solidFill>
            </a:endParaRPr>
          </a:p>
        </p:txBody>
      </p:sp>
    </p:spTree>
    <p:extLst>
      <p:ext uri="{BB962C8B-B14F-4D97-AF65-F5344CB8AC3E}">
        <p14:creationId xmlns:p14="http://schemas.microsoft.com/office/powerpoint/2010/main" val="250384773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NGAGE" val="{&quot;SavedSwatch&quot;:&quot;-11579311|-10846711|-14797230|-8244963|-11249614|PSPC&quot;,&quot;Id&quot;:&quot;5d3782854232362d9cdb8410&quot;,&quot;SmartGridHorizontal&quot;:0,&quot;LinkedExcelSources&quot;:{},&quot;LinkedProjectSources&quot;:{},&quot;FlowConfig&quot;:{&quot;Canvas&quot;:{&quot;Slide&quot;:-1,&quot;Width&quot;:0,&quot;Height&quot;:0},&quot;Timeline&quot;:{&quot;Actions&quot;:[]}},&quot;LinkedSlideMergeSources&quot;:{},&quot;LinkedSharePointSlideMergeSources&quot;:{}}"/>
</p:tagLst>
</file>

<file path=ppt/tags/tag10.xml><?xml version="1.0" encoding="utf-8"?>
<p:tagLst xmlns:a="http://schemas.openxmlformats.org/drawingml/2006/main" xmlns:r="http://schemas.openxmlformats.org/officeDocument/2006/relationships" xmlns:p="http://schemas.openxmlformats.org/presentationml/2006/main">
  <p:tag name="NUM" val="3"/>
</p:tagLst>
</file>

<file path=ppt/tags/tag11.xml><?xml version="1.0" encoding="utf-8"?>
<p:tagLst xmlns:a="http://schemas.openxmlformats.org/drawingml/2006/main" xmlns:r="http://schemas.openxmlformats.org/officeDocument/2006/relationships" xmlns:p="http://schemas.openxmlformats.org/presentationml/2006/main">
  <p:tag name="NUM" val="4"/>
</p:tagLst>
</file>

<file path=ppt/tags/tag12.xml><?xml version="1.0" encoding="utf-8"?>
<p:tagLst xmlns:a="http://schemas.openxmlformats.org/drawingml/2006/main" xmlns:r="http://schemas.openxmlformats.org/officeDocument/2006/relationships" xmlns:p="http://schemas.openxmlformats.org/presentationml/2006/main">
  <p:tag name="NUM" val="5"/>
</p:tagLst>
</file>

<file path=ppt/tags/tag13.xml><?xml version="1.0" encoding="utf-8"?>
<p:tagLst xmlns:a="http://schemas.openxmlformats.org/drawingml/2006/main" xmlns:r="http://schemas.openxmlformats.org/officeDocument/2006/relationships" xmlns:p="http://schemas.openxmlformats.org/presentationml/2006/main">
  <p:tag name="NUM" val="6"/>
</p:tagLst>
</file>

<file path=ppt/tags/tag14.xml><?xml version="1.0" encoding="utf-8"?>
<p:tagLst xmlns:a="http://schemas.openxmlformats.org/drawingml/2006/main" xmlns:r="http://schemas.openxmlformats.org/officeDocument/2006/relationships" xmlns:p="http://schemas.openxmlformats.org/presentationml/2006/main">
  <p:tag name="NUM" val="7"/>
</p:tagLst>
</file>

<file path=ppt/tags/tag15.xml><?xml version="1.0" encoding="utf-8"?>
<p:tagLst xmlns:a="http://schemas.openxmlformats.org/drawingml/2006/main" xmlns:r="http://schemas.openxmlformats.org/officeDocument/2006/relationships" xmlns:p="http://schemas.openxmlformats.org/presentationml/2006/main">
  <p:tag name="NUM" val="8"/>
</p:tagLst>
</file>

<file path=ppt/tags/tag16.xml><?xml version="1.0" encoding="utf-8"?>
<p:tagLst xmlns:a="http://schemas.openxmlformats.org/drawingml/2006/main" xmlns:r="http://schemas.openxmlformats.org/officeDocument/2006/relationships" xmlns:p="http://schemas.openxmlformats.org/presentationml/2006/main">
  <p:tag name="NUM" val="9"/>
</p:tagLst>
</file>

<file path=ppt/tags/tag17.xml><?xml version="1.0" encoding="utf-8"?>
<p:tagLst xmlns:a="http://schemas.openxmlformats.org/drawingml/2006/main" xmlns:r="http://schemas.openxmlformats.org/officeDocument/2006/relationships" xmlns:p="http://schemas.openxmlformats.org/presentationml/2006/main">
  <p:tag name="NUM" val="10"/>
</p:tagLst>
</file>

<file path=ppt/tags/tag18.xml><?xml version="1.0" encoding="utf-8"?>
<p:tagLst xmlns:a="http://schemas.openxmlformats.org/drawingml/2006/main" xmlns:r="http://schemas.openxmlformats.org/officeDocument/2006/relationships" xmlns:p="http://schemas.openxmlformats.org/presentationml/2006/main">
  <p:tag name="NUM" val="1"/>
</p:tagLst>
</file>

<file path=ppt/tags/tag19.xml><?xml version="1.0" encoding="utf-8"?>
<p:tagLst xmlns:a="http://schemas.openxmlformats.org/drawingml/2006/main" xmlns:r="http://schemas.openxmlformats.org/officeDocument/2006/relationships" xmlns:p="http://schemas.openxmlformats.org/presentationml/2006/main">
  <p:tag name="NUM" val="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UM" val="1"/>
</p:tagLst>
</file>

<file path=ppt/tags/tag21.xml><?xml version="1.0" encoding="utf-8"?>
<p:tagLst xmlns:a="http://schemas.openxmlformats.org/drawingml/2006/main" xmlns:r="http://schemas.openxmlformats.org/officeDocument/2006/relationships" xmlns:p="http://schemas.openxmlformats.org/presentationml/2006/main">
  <p:tag name="NUM" val="2"/>
</p:tagLst>
</file>

<file path=ppt/tags/tag22.xml><?xml version="1.0" encoding="utf-8"?>
<p:tagLst xmlns:a="http://schemas.openxmlformats.org/drawingml/2006/main" xmlns:r="http://schemas.openxmlformats.org/officeDocument/2006/relationships" xmlns:p="http://schemas.openxmlformats.org/presentationml/2006/main">
  <p:tag name="NUM" val="3"/>
</p:tagLst>
</file>

<file path=ppt/tags/tag23.xml><?xml version="1.0" encoding="utf-8"?>
<p:tagLst xmlns:a="http://schemas.openxmlformats.org/drawingml/2006/main" xmlns:r="http://schemas.openxmlformats.org/officeDocument/2006/relationships" xmlns:p="http://schemas.openxmlformats.org/presentationml/2006/main">
  <p:tag name="NUM" val="1"/>
</p:tagLst>
</file>

<file path=ppt/tags/tag24.xml><?xml version="1.0" encoding="utf-8"?>
<p:tagLst xmlns:a="http://schemas.openxmlformats.org/drawingml/2006/main" xmlns:r="http://schemas.openxmlformats.org/officeDocument/2006/relationships" xmlns:p="http://schemas.openxmlformats.org/presentationml/2006/main">
  <p:tag name="NUM" val="2"/>
</p:tagLst>
</file>

<file path=ppt/tags/tag25.xml><?xml version="1.0" encoding="utf-8"?>
<p:tagLst xmlns:a="http://schemas.openxmlformats.org/drawingml/2006/main" xmlns:r="http://schemas.openxmlformats.org/officeDocument/2006/relationships" xmlns:p="http://schemas.openxmlformats.org/presentationml/2006/main">
  <p:tag name="NUM" val="3"/>
</p:tagLst>
</file>

<file path=ppt/tags/tag26.xml><?xml version="1.0" encoding="utf-8"?>
<p:tagLst xmlns:a="http://schemas.openxmlformats.org/drawingml/2006/main" xmlns:r="http://schemas.openxmlformats.org/officeDocument/2006/relationships" xmlns:p="http://schemas.openxmlformats.org/presentationml/2006/main">
  <p:tag name="NUM" val="4"/>
</p:tagLst>
</file>

<file path=ppt/tags/tag27.xml><?xml version="1.0" encoding="utf-8"?>
<p:tagLst xmlns:a="http://schemas.openxmlformats.org/drawingml/2006/main" xmlns:r="http://schemas.openxmlformats.org/officeDocument/2006/relationships" xmlns:p="http://schemas.openxmlformats.org/presentationml/2006/main">
  <p:tag name="NUM" val="5"/>
</p:tagLst>
</file>

<file path=ppt/tags/tag28.xml><?xml version="1.0" encoding="utf-8"?>
<p:tagLst xmlns:a="http://schemas.openxmlformats.org/drawingml/2006/main" xmlns:r="http://schemas.openxmlformats.org/officeDocument/2006/relationships" xmlns:p="http://schemas.openxmlformats.org/presentationml/2006/main">
  <p:tag name="NUM" val="6"/>
</p:tagLst>
</file>

<file path=ppt/tags/tag29.xml><?xml version="1.0" encoding="utf-8"?>
<p:tagLst xmlns:a="http://schemas.openxmlformats.org/drawingml/2006/main" xmlns:r="http://schemas.openxmlformats.org/officeDocument/2006/relationships" xmlns:p="http://schemas.openxmlformats.org/presentationml/2006/main">
  <p:tag name="NUM" val="7"/>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NUM" val="8"/>
</p:tagLst>
</file>

<file path=ppt/tags/tag31.xml><?xml version="1.0" encoding="utf-8"?>
<p:tagLst xmlns:a="http://schemas.openxmlformats.org/drawingml/2006/main" xmlns:r="http://schemas.openxmlformats.org/officeDocument/2006/relationships" xmlns:p="http://schemas.openxmlformats.org/presentationml/2006/main">
  <p:tag name="NUM" val="9"/>
</p:tagLst>
</file>

<file path=ppt/tags/tag32.xml><?xml version="1.0" encoding="utf-8"?>
<p:tagLst xmlns:a="http://schemas.openxmlformats.org/drawingml/2006/main" xmlns:r="http://schemas.openxmlformats.org/officeDocument/2006/relationships" xmlns:p="http://schemas.openxmlformats.org/presentationml/2006/main">
  <p:tag name="NUM" val="10"/>
</p:tagLst>
</file>

<file path=ppt/tags/tag33.xml><?xml version="1.0" encoding="utf-8"?>
<p:tagLst xmlns:a="http://schemas.openxmlformats.org/drawingml/2006/main" xmlns:r="http://schemas.openxmlformats.org/officeDocument/2006/relationships" xmlns:p="http://schemas.openxmlformats.org/presentationml/2006/main">
  <p:tag name="NUM" val="1"/>
</p:tagLst>
</file>

<file path=ppt/tags/tag34.xml><?xml version="1.0" encoding="utf-8"?>
<p:tagLst xmlns:a="http://schemas.openxmlformats.org/drawingml/2006/main" xmlns:r="http://schemas.openxmlformats.org/officeDocument/2006/relationships" xmlns:p="http://schemas.openxmlformats.org/presentationml/2006/main">
  <p:tag name="NUM" val="2"/>
</p:tagLst>
</file>

<file path=ppt/tags/tag35.xml><?xml version="1.0" encoding="utf-8"?>
<p:tagLst xmlns:a="http://schemas.openxmlformats.org/drawingml/2006/main" xmlns:r="http://schemas.openxmlformats.org/officeDocument/2006/relationships" xmlns:p="http://schemas.openxmlformats.org/presentationml/2006/main">
  <p:tag name="NUM" val="3"/>
</p:tagLst>
</file>

<file path=ppt/tags/tag36.xml><?xml version="1.0" encoding="utf-8"?>
<p:tagLst xmlns:a="http://schemas.openxmlformats.org/drawingml/2006/main" xmlns:r="http://schemas.openxmlformats.org/officeDocument/2006/relationships" xmlns:p="http://schemas.openxmlformats.org/presentationml/2006/main">
  <p:tag name="NUM" val="1"/>
</p:tagLst>
</file>

<file path=ppt/tags/tag37.xml><?xml version="1.0" encoding="utf-8"?>
<p:tagLst xmlns:a="http://schemas.openxmlformats.org/drawingml/2006/main" xmlns:r="http://schemas.openxmlformats.org/officeDocument/2006/relationships" xmlns:p="http://schemas.openxmlformats.org/presentationml/2006/main">
  <p:tag name="NUM" val="2"/>
</p:tagLst>
</file>

<file path=ppt/tags/tag38.xml><?xml version="1.0" encoding="utf-8"?>
<p:tagLst xmlns:a="http://schemas.openxmlformats.org/drawingml/2006/main" xmlns:r="http://schemas.openxmlformats.org/officeDocument/2006/relationships" xmlns:p="http://schemas.openxmlformats.org/presentationml/2006/main">
  <p:tag name="NUM" val="3"/>
</p:tagLst>
</file>

<file path=ppt/tags/tag39.xml><?xml version="1.0" encoding="utf-8"?>
<p:tagLst xmlns:a="http://schemas.openxmlformats.org/drawingml/2006/main" xmlns:r="http://schemas.openxmlformats.org/officeDocument/2006/relationships" xmlns:p="http://schemas.openxmlformats.org/presentationml/2006/main">
  <p:tag name="NUM" val="4"/>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NUM" val="5"/>
</p:tagLst>
</file>

<file path=ppt/tags/tag41.xml><?xml version="1.0" encoding="utf-8"?>
<p:tagLst xmlns:a="http://schemas.openxmlformats.org/drawingml/2006/main" xmlns:r="http://schemas.openxmlformats.org/officeDocument/2006/relationships" xmlns:p="http://schemas.openxmlformats.org/presentationml/2006/main">
  <p:tag name="NUM" val="6"/>
</p:tagLst>
</file>

<file path=ppt/tags/tag42.xml><?xml version="1.0" encoding="utf-8"?>
<p:tagLst xmlns:a="http://schemas.openxmlformats.org/drawingml/2006/main" xmlns:r="http://schemas.openxmlformats.org/officeDocument/2006/relationships" xmlns:p="http://schemas.openxmlformats.org/presentationml/2006/main">
  <p:tag name="NUM" val="7"/>
</p:tagLst>
</file>

<file path=ppt/tags/tag43.xml><?xml version="1.0" encoding="utf-8"?>
<p:tagLst xmlns:a="http://schemas.openxmlformats.org/drawingml/2006/main" xmlns:r="http://schemas.openxmlformats.org/officeDocument/2006/relationships" xmlns:p="http://schemas.openxmlformats.org/presentationml/2006/main">
  <p:tag name="NUM" val="8"/>
</p:tagLst>
</file>

<file path=ppt/tags/tag44.xml><?xml version="1.0" encoding="utf-8"?>
<p:tagLst xmlns:a="http://schemas.openxmlformats.org/drawingml/2006/main" xmlns:r="http://schemas.openxmlformats.org/officeDocument/2006/relationships" xmlns:p="http://schemas.openxmlformats.org/presentationml/2006/main">
  <p:tag name="NUM" val="9"/>
</p:tagLst>
</file>

<file path=ppt/tags/tag45.xml><?xml version="1.0" encoding="utf-8"?>
<p:tagLst xmlns:a="http://schemas.openxmlformats.org/drawingml/2006/main" xmlns:r="http://schemas.openxmlformats.org/officeDocument/2006/relationships" xmlns:p="http://schemas.openxmlformats.org/presentationml/2006/main">
  <p:tag name="NUM" val="10"/>
</p:tagLst>
</file>

<file path=ppt/tags/tag46.xml><?xml version="1.0" encoding="utf-8"?>
<p:tagLst xmlns:a="http://schemas.openxmlformats.org/drawingml/2006/main" xmlns:r="http://schemas.openxmlformats.org/officeDocument/2006/relationships" xmlns:p="http://schemas.openxmlformats.org/presentationml/2006/main">
  <p:tag name="NUM" val="11"/>
</p:tagLst>
</file>

<file path=ppt/tags/tag47.xml><?xml version="1.0" encoding="utf-8"?>
<p:tagLst xmlns:a="http://schemas.openxmlformats.org/drawingml/2006/main" xmlns:r="http://schemas.openxmlformats.org/officeDocument/2006/relationships" xmlns:p="http://schemas.openxmlformats.org/presentationml/2006/main">
  <p:tag name="NUM" val="12"/>
</p:tagLst>
</file>

<file path=ppt/tags/tag48.xml><?xml version="1.0" encoding="utf-8"?>
<p:tagLst xmlns:a="http://schemas.openxmlformats.org/drawingml/2006/main" xmlns:r="http://schemas.openxmlformats.org/officeDocument/2006/relationships" xmlns:p="http://schemas.openxmlformats.org/presentationml/2006/main">
  <p:tag name="NUM" val="13"/>
</p:tagLst>
</file>

<file path=ppt/tags/tag49.xml><?xml version="1.0" encoding="utf-8"?>
<p:tagLst xmlns:a="http://schemas.openxmlformats.org/drawingml/2006/main" xmlns:r="http://schemas.openxmlformats.org/officeDocument/2006/relationships" xmlns:p="http://schemas.openxmlformats.org/presentationml/2006/main">
  <p:tag name="NUM" val="14"/>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NUM" val="15"/>
</p:tagLst>
</file>

<file path=ppt/tags/tag51.xml><?xml version="1.0" encoding="utf-8"?>
<p:tagLst xmlns:a="http://schemas.openxmlformats.org/drawingml/2006/main" xmlns:r="http://schemas.openxmlformats.org/officeDocument/2006/relationships" xmlns:p="http://schemas.openxmlformats.org/presentationml/2006/main">
  <p:tag name="NUM" val="16"/>
</p:tagLst>
</file>

<file path=ppt/tags/tag52.xml><?xml version="1.0" encoding="utf-8"?>
<p:tagLst xmlns:a="http://schemas.openxmlformats.org/drawingml/2006/main" xmlns:r="http://schemas.openxmlformats.org/officeDocument/2006/relationships" xmlns:p="http://schemas.openxmlformats.org/presentationml/2006/main">
  <p:tag name="NUM" val="17"/>
</p:tagLst>
</file>

<file path=ppt/tags/tag53.xml><?xml version="1.0" encoding="utf-8"?>
<p:tagLst xmlns:a="http://schemas.openxmlformats.org/drawingml/2006/main" xmlns:r="http://schemas.openxmlformats.org/officeDocument/2006/relationships" xmlns:p="http://schemas.openxmlformats.org/presentationml/2006/main">
  <p:tag name="NUM" val="18"/>
</p:tagLst>
</file>

<file path=ppt/tags/tag54.xml><?xml version="1.0" encoding="utf-8"?>
<p:tagLst xmlns:a="http://schemas.openxmlformats.org/drawingml/2006/main" xmlns:r="http://schemas.openxmlformats.org/officeDocument/2006/relationships" xmlns:p="http://schemas.openxmlformats.org/presentationml/2006/main">
  <p:tag name="NUM" val="19"/>
</p:tagLst>
</file>

<file path=ppt/tags/tag55.xml><?xml version="1.0" encoding="utf-8"?>
<p:tagLst xmlns:a="http://schemas.openxmlformats.org/drawingml/2006/main" xmlns:r="http://schemas.openxmlformats.org/officeDocument/2006/relationships" xmlns:p="http://schemas.openxmlformats.org/presentationml/2006/main">
  <p:tag name="NUM" val="20"/>
</p:tagLst>
</file>

<file path=ppt/tags/tag56.xml><?xml version="1.0" encoding="utf-8"?>
<p:tagLst xmlns:a="http://schemas.openxmlformats.org/drawingml/2006/main" xmlns:r="http://schemas.openxmlformats.org/officeDocument/2006/relationships" xmlns:p="http://schemas.openxmlformats.org/presentationml/2006/main">
  <p:tag name="NUM" val="23"/>
</p:tagLst>
</file>

<file path=ppt/tags/tag57.xml><?xml version="1.0" encoding="utf-8"?>
<p:tagLst xmlns:a="http://schemas.openxmlformats.org/drawingml/2006/main" xmlns:r="http://schemas.openxmlformats.org/officeDocument/2006/relationships" xmlns:p="http://schemas.openxmlformats.org/presentationml/2006/main">
  <p:tag name="NUM" val="24"/>
</p:tagLst>
</file>

<file path=ppt/tags/tag58.xml><?xml version="1.0" encoding="utf-8"?>
<p:tagLst xmlns:a="http://schemas.openxmlformats.org/drawingml/2006/main" xmlns:r="http://schemas.openxmlformats.org/officeDocument/2006/relationships" xmlns:p="http://schemas.openxmlformats.org/presentationml/2006/main">
  <p:tag name="NUM" val="21"/>
</p:tagLst>
</file>

<file path=ppt/tags/tag59.xml><?xml version="1.0" encoding="utf-8"?>
<p:tagLst xmlns:a="http://schemas.openxmlformats.org/drawingml/2006/main" xmlns:r="http://schemas.openxmlformats.org/officeDocument/2006/relationships" xmlns:p="http://schemas.openxmlformats.org/presentationml/2006/main">
  <p:tag name="NUM" val="22"/>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NUM" val="1"/>
</p:tagLst>
</file>

<file path=ppt/tags/tag61.xml><?xml version="1.0" encoding="utf-8"?>
<p:tagLst xmlns:a="http://schemas.openxmlformats.org/drawingml/2006/main" xmlns:r="http://schemas.openxmlformats.org/officeDocument/2006/relationships" xmlns:p="http://schemas.openxmlformats.org/presentationml/2006/main">
  <p:tag name="NUM" val="2"/>
</p:tagLst>
</file>

<file path=ppt/tags/tag62.xml><?xml version="1.0" encoding="utf-8"?>
<p:tagLst xmlns:a="http://schemas.openxmlformats.org/drawingml/2006/main" xmlns:r="http://schemas.openxmlformats.org/officeDocument/2006/relationships" xmlns:p="http://schemas.openxmlformats.org/presentationml/2006/main">
  <p:tag name="NUM" val="3"/>
</p:tagLst>
</file>

<file path=ppt/tags/tag63.xml><?xml version="1.0" encoding="utf-8"?>
<p:tagLst xmlns:a="http://schemas.openxmlformats.org/drawingml/2006/main" xmlns:r="http://schemas.openxmlformats.org/officeDocument/2006/relationships" xmlns:p="http://schemas.openxmlformats.org/presentationml/2006/main">
  <p:tag name="NUM" val="4"/>
</p:tagLst>
</file>

<file path=ppt/tags/tag64.xml><?xml version="1.0" encoding="utf-8"?>
<p:tagLst xmlns:a="http://schemas.openxmlformats.org/drawingml/2006/main" xmlns:r="http://schemas.openxmlformats.org/officeDocument/2006/relationships" xmlns:p="http://schemas.openxmlformats.org/presentationml/2006/main">
  <p:tag name="NUM" val="5"/>
</p:tagLst>
</file>

<file path=ppt/tags/tag65.xml><?xml version="1.0" encoding="utf-8"?>
<p:tagLst xmlns:a="http://schemas.openxmlformats.org/drawingml/2006/main" xmlns:r="http://schemas.openxmlformats.org/officeDocument/2006/relationships" xmlns:p="http://schemas.openxmlformats.org/presentationml/2006/main">
  <p:tag name="NUM" val="6"/>
</p:tagLst>
</file>

<file path=ppt/tags/tag66.xml><?xml version="1.0" encoding="utf-8"?>
<p:tagLst xmlns:a="http://schemas.openxmlformats.org/drawingml/2006/main" xmlns:r="http://schemas.openxmlformats.org/officeDocument/2006/relationships" xmlns:p="http://schemas.openxmlformats.org/presentationml/2006/main">
  <p:tag name="NUM" val="1"/>
</p:tagLst>
</file>

<file path=ppt/tags/tag67.xml><?xml version="1.0" encoding="utf-8"?>
<p:tagLst xmlns:a="http://schemas.openxmlformats.org/drawingml/2006/main" xmlns:r="http://schemas.openxmlformats.org/officeDocument/2006/relationships" xmlns:p="http://schemas.openxmlformats.org/presentationml/2006/main">
  <p:tag name="NUM" val="2"/>
</p:tagLst>
</file>

<file path=ppt/tags/tag68.xml><?xml version="1.0" encoding="utf-8"?>
<p:tagLst xmlns:a="http://schemas.openxmlformats.org/drawingml/2006/main" xmlns:r="http://schemas.openxmlformats.org/officeDocument/2006/relationships" xmlns:p="http://schemas.openxmlformats.org/presentationml/2006/main">
  <p:tag name="NUM" val="3"/>
</p:tagLst>
</file>

<file path=ppt/tags/tag69.xml><?xml version="1.0" encoding="utf-8"?>
<p:tagLst xmlns:a="http://schemas.openxmlformats.org/drawingml/2006/main" xmlns:r="http://schemas.openxmlformats.org/officeDocument/2006/relationships" xmlns:p="http://schemas.openxmlformats.org/presentationml/2006/main">
  <p:tag name="NUM" val="4"/>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NUM" val="5"/>
</p:tagLst>
</file>

<file path=ppt/tags/tag71.xml><?xml version="1.0" encoding="utf-8"?>
<p:tagLst xmlns:a="http://schemas.openxmlformats.org/drawingml/2006/main" xmlns:r="http://schemas.openxmlformats.org/officeDocument/2006/relationships" xmlns:p="http://schemas.openxmlformats.org/presentationml/2006/main">
  <p:tag name="NUM" val="6"/>
</p:tagLst>
</file>

<file path=ppt/tags/tag72.xml><?xml version="1.0" encoding="utf-8"?>
<p:tagLst xmlns:a="http://schemas.openxmlformats.org/drawingml/2006/main" xmlns:r="http://schemas.openxmlformats.org/officeDocument/2006/relationships" xmlns:p="http://schemas.openxmlformats.org/presentationml/2006/main">
  <p:tag name="NUM" val="7"/>
</p:tagLst>
</file>

<file path=ppt/tags/tag73.xml><?xml version="1.0" encoding="utf-8"?>
<p:tagLst xmlns:a="http://schemas.openxmlformats.org/drawingml/2006/main" xmlns:r="http://schemas.openxmlformats.org/officeDocument/2006/relationships" xmlns:p="http://schemas.openxmlformats.org/presentationml/2006/main">
  <p:tag name="NUM" val="8"/>
</p:tagLst>
</file>

<file path=ppt/tags/tag74.xml><?xml version="1.0" encoding="utf-8"?>
<p:tagLst xmlns:a="http://schemas.openxmlformats.org/drawingml/2006/main" xmlns:r="http://schemas.openxmlformats.org/officeDocument/2006/relationships" xmlns:p="http://schemas.openxmlformats.org/presentationml/2006/main">
  <p:tag name="NUM" val="9"/>
</p:tagLst>
</file>

<file path=ppt/tags/tag75.xml><?xml version="1.0" encoding="utf-8"?>
<p:tagLst xmlns:a="http://schemas.openxmlformats.org/drawingml/2006/main" xmlns:r="http://schemas.openxmlformats.org/officeDocument/2006/relationships" xmlns:p="http://schemas.openxmlformats.org/presentationml/2006/main">
  <p:tag name="NUM" val="10"/>
</p:tagLst>
</file>

<file path=ppt/tags/tag76.xml><?xml version="1.0" encoding="utf-8"?>
<p:tagLst xmlns:a="http://schemas.openxmlformats.org/drawingml/2006/main" xmlns:r="http://schemas.openxmlformats.org/officeDocument/2006/relationships" xmlns:p="http://schemas.openxmlformats.org/presentationml/2006/main">
  <p:tag name="NUM" val="11"/>
</p:tagLst>
</file>

<file path=ppt/tags/tag77.xml><?xml version="1.0" encoding="utf-8"?>
<p:tagLst xmlns:a="http://schemas.openxmlformats.org/drawingml/2006/main" xmlns:r="http://schemas.openxmlformats.org/officeDocument/2006/relationships" xmlns:p="http://schemas.openxmlformats.org/presentationml/2006/main">
  <p:tag name="NUM" val="12"/>
</p:tagLst>
</file>

<file path=ppt/tags/tag8.xml><?xml version="1.0" encoding="utf-8"?>
<p:tagLst xmlns:a="http://schemas.openxmlformats.org/drawingml/2006/main" xmlns:r="http://schemas.openxmlformats.org/officeDocument/2006/relationships" xmlns:p="http://schemas.openxmlformats.org/presentationml/2006/main">
  <p:tag name="NUM" val="1"/>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NUM" val="2"/>
</p:tagLst>
</file>

<file path=ppt/theme/theme1.xml><?xml version="1.0" encoding="utf-8"?>
<a:theme xmlns:a="http://schemas.openxmlformats.org/drawingml/2006/main" name="1_Office Theme">
  <a:themeElements>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4216</TotalTime>
  <Words>1484</Words>
  <Application>Microsoft Office PowerPoint</Application>
  <PresentationFormat>Widescreen</PresentationFormat>
  <Paragraphs>117</Paragraphs>
  <Slides>8</Slides>
  <Notes>1</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8</vt:i4>
      </vt:variant>
    </vt:vector>
  </HeadingPairs>
  <TitlesOfParts>
    <vt:vector size="13" baseType="lpstr">
      <vt:lpstr>Arial</vt:lpstr>
      <vt:lpstr>Calibri</vt:lpstr>
      <vt:lpstr>Georgia</vt:lpstr>
      <vt:lpstr>1_Office Theme</vt:lpstr>
      <vt:lpstr>think-cell Slide</vt:lpstr>
      <vt:lpstr>Établir un réseau d’agents de changement</vt:lpstr>
      <vt:lpstr>À propos du guide</vt:lpstr>
      <vt:lpstr>Réseau d’agents de changement</vt:lpstr>
      <vt:lpstr>Une approche collaborative pour le changement</vt:lpstr>
      <vt:lpstr>Nomination des agents de changement</vt:lpstr>
      <vt:lpstr>L’équipe de projet intégrée</vt:lpstr>
      <vt:lpstr>Quand faire appel à des agents de changement</vt:lpstr>
      <vt:lpstr>Pratiques exemplaires pour les agents de changeme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 Tu</dc:creator>
  <cp:lastModifiedBy>Sophie Genereux</cp:lastModifiedBy>
  <cp:revision>424</cp:revision>
  <dcterms:created xsi:type="dcterms:W3CDTF">2018-01-23T15:59:12Z</dcterms:created>
  <dcterms:modified xsi:type="dcterms:W3CDTF">2022-09-09T01:24:40Z</dcterms:modified>
</cp:coreProperties>
</file>